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4.xml" ContentType="application/vnd.openxmlformats-officedocument.drawingml.chart+xml"/>
  <Override PartName="/ppt/drawings/drawing2.xml" ContentType="application/vnd.openxmlformats-officedocument.drawingml.chartshape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tags/tag7.xml" ContentType="application/vnd.openxmlformats-officedocument.presentationml.tags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6" r:id="rId2"/>
    <p:sldMasterId id="2147483674" r:id="rId3"/>
  </p:sldMasterIdLst>
  <p:notesMasterIdLst>
    <p:notesMasterId r:id="rId22"/>
  </p:notesMasterIdLst>
  <p:handoutMasterIdLst>
    <p:handoutMasterId r:id="rId23"/>
  </p:handoutMasterIdLst>
  <p:sldIdLst>
    <p:sldId id="359" r:id="rId4"/>
    <p:sldId id="361" r:id="rId5"/>
    <p:sldId id="360" r:id="rId6"/>
    <p:sldId id="354" r:id="rId7"/>
    <p:sldId id="321" r:id="rId8"/>
    <p:sldId id="352" r:id="rId9"/>
    <p:sldId id="353" r:id="rId10"/>
    <p:sldId id="355" r:id="rId11"/>
    <p:sldId id="367" r:id="rId12"/>
    <p:sldId id="366" r:id="rId13"/>
    <p:sldId id="356" r:id="rId14"/>
    <p:sldId id="364" r:id="rId15"/>
    <p:sldId id="365" r:id="rId16"/>
    <p:sldId id="369" r:id="rId17"/>
    <p:sldId id="348" r:id="rId18"/>
    <p:sldId id="358" r:id="rId19"/>
    <p:sldId id="362" r:id="rId20"/>
    <p:sldId id="368" r:id="rId2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3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ynch, James" initials="LJ" lastIdx="2" clrIdx="0">
    <p:extLst>
      <p:ext uri="{19B8F6BF-5375-455C-9EA6-DF929625EA0E}">
        <p15:presenceInfo xmlns:p15="http://schemas.microsoft.com/office/powerpoint/2012/main" userId="S-1-12-1-880524412-1118439724-3670997161-393778119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68686"/>
    <a:srgbClr val="A6DCF7"/>
    <a:srgbClr val="2F72AD"/>
    <a:srgbClr val="337DBE"/>
    <a:srgbClr val="072C44"/>
    <a:srgbClr val="444648"/>
    <a:srgbClr val="5658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09" autoAdjust="0"/>
    <p:restoredTop sz="75337" autoAdjust="0"/>
  </p:normalViewPr>
  <p:slideViewPr>
    <p:cSldViewPr snapToGrid="0">
      <p:cViewPr varScale="1">
        <p:scale>
          <a:sx n="86" d="100"/>
          <a:sy n="86" d="100"/>
        </p:scale>
        <p:origin x="2478" y="84"/>
      </p:cViewPr>
      <p:guideLst>
        <p:guide orient="horz" pos="2160"/>
        <p:guide pos="2880"/>
        <p:guide pos="312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2266" y="53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984072810011382E-2"/>
          <c:y val="3.1544191845524767E-2"/>
          <c:w val="0.9340159271899886"/>
          <c:h val="0.84141738334931815"/>
        </c:manualLayout>
      </c:layout>
      <c:barChart>
        <c:barDir val="bar"/>
        <c:grouping val="clustered"/>
        <c:varyColors val="0"/>
        <c:ser>
          <c:idx val="2"/>
          <c:order val="0"/>
          <c:spPr>
            <a:solidFill>
              <a:schemeClr val="accent1"/>
            </a:solidFill>
            <a:ln w="12040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2E6E-4ABB-AC90-7BCB85B63CA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2E6E-4ABB-AC90-7BCB85B63CA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328" b="1" i="0" u="none" strike="noStrike" kern="1200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J$1</c:f>
              <c:strCache>
                <c:ptCount val="9"/>
                <c:pt idx="0">
                  <c:v>Insurtech</c:v>
                </c:pt>
                <c:pt idx="1">
                  <c:v>Insurer VC</c:v>
                </c:pt>
                <c:pt idx="2">
                  <c:v>ILS</c:v>
                </c:pt>
                <c:pt idx="3">
                  <c:v>IoT</c:v>
                </c:pt>
                <c:pt idx="4">
                  <c:v>Gig Economy</c:v>
                </c:pt>
                <c:pt idx="5">
                  <c:v>Tight Value Chain</c:v>
                </c:pt>
                <c:pt idx="6">
                  <c:v>Big Data</c:v>
                </c:pt>
                <c:pt idx="7">
                  <c:v>Mobile Apps</c:v>
                </c:pt>
                <c:pt idx="8">
                  <c:v>Advanced Analytics</c:v>
                </c:pt>
              </c:strCache>
            </c:strRef>
          </c:cat>
          <c:val>
            <c:numRef>
              <c:f>Sheet1!$B$2:$J$2</c:f>
              <c:numCache>
                <c:formatCode>0%</c:formatCode>
                <c:ptCount val="9"/>
                <c:pt idx="0">
                  <c:v>1.1000000000000001E-2</c:v>
                </c:pt>
                <c:pt idx="1">
                  <c:v>1.6E-2</c:v>
                </c:pt>
                <c:pt idx="2">
                  <c:v>4.4000000000000004E-2</c:v>
                </c:pt>
                <c:pt idx="3">
                  <c:v>0.06</c:v>
                </c:pt>
                <c:pt idx="4">
                  <c:v>0.06</c:v>
                </c:pt>
                <c:pt idx="5">
                  <c:v>0.121</c:v>
                </c:pt>
                <c:pt idx="6">
                  <c:v>0.18099999999999999</c:v>
                </c:pt>
                <c:pt idx="7">
                  <c:v>0.187</c:v>
                </c:pt>
                <c:pt idx="8">
                  <c:v>0.319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E6E-4ABB-AC90-7BCB85B63CA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0"/>
        <c:axId val="459723600"/>
        <c:axId val="462434784"/>
      </c:barChart>
      <c:catAx>
        <c:axId val="45972360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2040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 algn="ctr" rtl="0">
              <a:defRPr lang="en-US"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462434784"/>
        <c:crossesAt val="0"/>
        <c:auto val="1"/>
        <c:lblAlgn val="ctr"/>
        <c:lblOffset val="0"/>
        <c:noMultiLvlLbl val="0"/>
      </c:catAx>
      <c:valAx>
        <c:axId val="462434784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nextTo"/>
        <c:spPr>
          <a:ln w="3010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 algn="ctr" rtl="0">
              <a:defRPr lang="en-US"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459723600"/>
        <c:crossesAt val="1"/>
        <c:crossBetween val="between"/>
        <c:majorUnit val="0.2"/>
        <c:minorUnit val="0.1"/>
      </c:valAx>
      <c:spPr>
        <a:noFill/>
        <a:ln w="2537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328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984072810011382E-2"/>
          <c:y val="3.1544191845524767E-2"/>
          <c:w val="0.9340159271899886"/>
          <c:h val="0.84141738334931815"/>
        </c:manualLayout>
      </c:layout>
      <c:barChart>
        <c:barDir val="bar"/>
        <c:grouping val="clustered"/>
        <c:varyColors val="0"/>
        <c:ser>
          <c:idx val="2"/>
          <c:order val="0"/>
          <c:spPr>
            <a:solidFill>
              <a:schemeClr val="accent1"/>
            </a:solidFill>
            <a:ln w="12040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52A-4FEC-9E5B-DB3409F5260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52A-4FEC-9E5B-DB3409F5260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328" b="1" i="0" u="none" strike="noStrike" kern="1200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J$1</c:f>
              <c:strCache>
                <c:ptCount val="9"/>
                <c:pt idx="0">
                  <c:v>IoT</c:v>
                </c:pt>
                <c:pt idx="1">
                  <c:v>Gig Economy</c:v>
                </c:pt>
                <c:pt idx="2">
                  <c:v>Insurer VC</c:v>
                </c:pt>
                <c:pt idx="3">
                  <c:v>Advanced Analytics</c:v>
                </c:pt>
                <c:pt idx="4">
                  <c:v>Big Data</c:v>
                </c:pt>
                <c:pt idx="5">
                  <c:v>ILS</c:v>
                </c:pt>
                <c:pt idx="6">
                  <c:v>Tight Value Chain</c:v>
                </c:pt>
                <c:pt idx="7">
                  <c:v>Mobile Apps</c:v>
                </c:pt>
                <c:pt idx="8">
                  <c:v>Insurtech</c:v>
                </c:pt>
              </c:strCache>
            </c:strRef>
          </c:cat>
          <c:val>
            <c:numRef>
              <c:f>Sheet1!$B$2:$J$2</c:f>
              <c:numCache>
                <c:formatCode>0%</c:formatCode>
                <c:ptCount val="9"/>
                <c:pt idx="0">
                  <c:v>6.2E-2</c:v>
                </c:pt>
                <c:pt idx="1">
                  <c:v>7.9000000000000001E-2</c:v>
                </c:pt>
                <c:pt idx="2">
                  <c:v>7.9000000000000001E-2</c:v>
                </c:pt>
                <c:pt idx="3">
                  <c:v>0.09</c:v>
                </c:pt>
                <c:pt idx="4">
                  <c:v>9.6000000000000002E-2</c:v>
                </c:pt>
                <c:pt idx="5">
                  <c:v>0.11899999999999999</c:v>
                </c:pt>
                <c:pt idx="6">
                  <c:v>0.14099999999999999</c:v>
                </c:pt>
                <c:pt idx="7">
                  <c:v>0.16400000000000001</c:v>
                </c:pt>
                <c:pt idx="8">
                  <c:v>0.169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52A-4FEC-9E5B-DB3409F5260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0"/>
        <c:axId val="459723600"/>
        <c:axId val="462434784"/>
      </c:barChart>
      <c:catAx>
        <c:axId val="45972360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2040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 algn="ctr" rtl="0">
              <a:defRPr lang="en-US"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462434784"/>
        <c:crossesAt val="0"/>
        <c:auto val="1"/>
        <c:lblAlgn val="ctr"/>
        <c:lblOffset val="0"/>
        <c:noMultiLvlLbl val="0"/>
      </c:catAx>
      <c:valAx>
        <c:axId val="462434784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nextTo"/>
        <c:spPr>
          <a:ln w="3010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 algn="ctr" rtl="0">
              <a:defRPr lang="en-US"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459723600"/>
        <c:crossesAt val="1"/>
        <c:crossBetween val="between"/>
        <c:majorUnit val="0.2"/>
        <c:minorUnit val="0.1"/>
      </c:valAx>
      <c:spPr>
        <a:noFill/>
        <a:ln w="2537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328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Investmen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</c:numCache>
            </c:numRef>
          </c:cat>
          <c:val>
            <c:numRef>
              <c:f>Sheet1!$B$2:$B$7</c:f>
              <c:numCache>
                <c:formatCode>_(* #,##0_);_(* \(#,##0\);_(* "-"??_);_(@_)</c:formatCode>
                <c:ptCount val="6"/>
                <c:pt idx="0">
                  <c:v>140</c:v>
                </c:pt>
                <c:pt idx="1">
                  <c:v>350</c:v>
                </c:pt>
                <c:pt idx="2">
                  <c:v>270</c:v>
                </c:pt>
                <c:pt idx="3">
                  <c:v>870</c:v>
                </c:pt>
                <c:pt idx="4">
                  <c:v>2670</c:v>
                </c:pt>
                <c:pt idx="5">
                  <c:v>16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C8-47AB-9133-B2985AD305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89357304"/>
        <c:axId val="389347792"/>
      </c:barChart>
      <c:lineChart>
        <c:grouping val="standard"/>
        <c:varyColors val="0"/>
        <c:ser>
          <c:idx val="2"/>
          <c:order val="1"/>
          <c:tx>
            <c:strRef>
              <c:f>Sheet1!$C$1</c:f>
              <c:strCache>
                <c:ptCount val="1"/>
                <c:pt idx="0">
                  <c:v>Deals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28</c:v>
                </c:pt>
                <c:pt idx="1">
                  <c:v>46</c:v>
                </c:pt>
                <c:pt idx="2">
                  <c:v>63</c:v>
                </c:pt>
                <c:pt idx="3">
                  <c:v>91</c:v>
                </c:pt>
                <c:pt idx="4">
                  <c:v>122</c:v>
                </c:pt>
                <c:pt idx="5">
                  <c:v>1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21-4025-A3A1-701ECBA33A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34158536"/>
        <c:axId val="434160504"/>
      </c:lineChart>
      <c:catAx>
        <c:axId val="389357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9347792"/>
        <c:crosses val="autoZero"/>
        <c:auto val="1"/>
        <c:lblAlgn val="ctr"/>
        <c:lblOffset val="100"/>
        <c:noMultiLvlLbl val="0"/>
      </c:catAx>
      <c:valAx>
        <c:axId val="389347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9357304"/>
        <c:crosses val="autoZero"/>
        <c:crossBetween val="between"/>
      </c:valAx>
      <c:valAx>
        <c:axId val="43416050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434158536"/>
        <c:crosses val="max"/>
        <c:crossBetween val="between"/>
        <c:majorUnit val="40"/>
      </c:valAx>
      <c:catAx>
        <c:axId val="4341585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3416050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57083105797362"/>
          <c:y val="0.17152507566576922"/>
          <c:w val="0.8924291689420264"/>
          <c:h val="0.67215416116958082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Alternative Capital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L$1</c:f>
              <c:numCache>
                <c:formatCode>General</c:formatCod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</c:numCache>
            </c:numRef>
          </c:cat>
          <c:val>
            <c:numRef>
              <c:f>Sheet1!$B$2:$L$2</c:f>
              <c:numCache>
                <c:formatCode>_(* #,##0_);_(* \(#,##0\);_(* "-"??_);_(@_)</c:formatCode>
                <c:ptCount val="11"/>
                <c:pt idx="0" formatCode="General">
                  <c:v>17</c:v>
                </c:pt>
                <c:pt idx="1">
                  <c:v>22</c:v>
                </c:pt>
                <c:pt idx="2">
                  <c:v>19</c:v>
                </c:pt>
                <c:pt idx="3">
                  <c:v>22</c:v>
                </c:pt>
                <c:pt idx="4">
                  <c:v>24</c:v>
                </c:pt>
                <c:pt idx="5">
                  <c:v>28</c:v>
                </c:pt>
                <c:pt idx="6">
                  <c:v>39</c:v>
                </c:pt>
                <c:pt idx="7">
                  <c:v>50</c:v>
                </c:pt>
                <c:pt idx="8">
                  <c:v>64</c:v>
                </c:pt>
                <c:pt idx="9">
                  <c:v>72</c:v>
                </c:pt>
                <c:pt idx="10">
                  <c:v>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3B-454B-93C2-10EAE6C4DDDA}"/>
            </c:ext>
          </c:extLst>
        </c:ser>
        <c:ser>
          <c:idx val="0"/>
          <c:order val="1"/>
          <c:tx>
            <c:strRef>
              <c:f>Sheet1!$A$3</c:f>
              <c:strCache>
                <c:ptCount val="1"/>
                <c:pt idx="0">
                  <c:v>Traditional Capital</c:v>
                </c:pt>
              </c:strCache>
            </c:strRef>
          </c:tx>
          <c:spPr>
            <a:solidFill>
              <a:schemeClr val="accent1"/>
            </a:solidFill>
            <a:ln w="25336">
              <a:noFill/>
            </a:ln>
          </c:spPr>
          <c:invertIfNegative val="0"/>
          <c:dLbls>
            <c:dLbl>
              <c:idx val="0"/>
              <c:numFmt formatCode="General" sourceLinked="0"/>
              <c:spPr>
                <a:noFill/>
                <a:ln w="25336">
                  <a:noFill/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73B-454B-93C2-10EAE6C4DDDA}"/>
                </c:ext>
              </c:extLst>
            </c:dLbl>
            <c:dLbl>
              <c:idx val="1"/>
              <c:numFmt formatCode="General" sourceLinked="0"/>
              <c:spPr>
                <a:noFill/>
                <a:ln w="25336">
                  <a:noFill/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73B-454B-93C2-10EAE6C4DDDA}"/>
                </c:ext>
              </c:extLst>
            </c:dLbl>
            <c:dLbl>
              <c:idx val="2"/>
              <c:numFmt formatCode="General" sourceLinked="0"/>
              <c:spPr>
                <a:noFill/>
                <a:ln w="25336">
                  <a:noFill/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873B-454B-93C2-10EAE6C4DDDA}"/>
                </c:ext>
              </c:extLst>
            </c:dLbl>
            <c:dLbl>
              <c:idx val="3"/>
              <c:numFmt formatCode="General" sourceLinked="0"/>
              <c:spPr>
                <a:noFill/>
                <a:ln w="25336">
                  <a:noFill/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873B-454B-93C2-10EAE6C4DDDA}"/>
                </c:ext>
              </c:extLst>
            </c:dLbl>
            <c:dLbl>
              <c:idx val="4"/>
              <c:numFmt formatCode="General" sourceLinked="0"/>
              <c:spPr>
                <a:noFill/>
                <a:ln w="25336">
                  <a:noFill/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873B-454B-93C2-10EAE6C4DDDA}"/>
                </c:ext>
              </c:extLst>
            </c:dLbl>
            <c:dLbl>
              <c:idx val="5"/>
              <c:numFmt formatCode="General" sourceLinked="0"/>
              <c:spPr>
                <a:noFill/>
                <a:ln w="25336">
                  <a:noFill/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873B-454B-93C2-10EAE6C4DDDA}"/>
                </c:ext>
              </c:extLst>
            </c:dLbl>
            <c:numFmt formatCode="General" sourceLinked="0"/>
            <c:spPr>
              <a:noFill/>
              <a:ln w="25336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L$1</c:f>
              <c:numCache>
                <c:formatCode>General</c:formatCod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</c:numCache>
            </c:numRef>
          </c:cat>
          <c:val>
            <c:numRef>
              <c:f>Sheet1!$B$3:$L$3</c:f>
              <c:numCache>
                <c:formatCode>_(* #,##0_);_(* \(#,##0\);_(* "-"??_);_(@_)</c:formatCode>
                <c:ptCount val="11"/>
                <c:pt idx="0" formatCode="#,##0">
                  <c:v>368</c:v>
                </c:pt>
                <c:pt idx="1">
                  <c:v>388</c:v>
                </c:pt>
                <c:pt idx="2">
                  <c:v>321</c:v>
                </c:pt>
                <c:pt idx="3">
                  <c:v>378</c:v>
                </c:pt>
                <c:pt idx="4">
                  <c:v>447</c:v>
                </c:pt>
                <c:pt idx="5">
                  <c:v>428</c:v>
                </c:pt>
                <c:pt idx="6">
                  <c:v>466</c:v>
                </c:pt>
                <c:pt idx="7">
                  <c:v>490</c:v>
                </c:pt>
                <c:pt idx="8">
                  <c:v>511</c:v>
                </c:pt>
                <c:pt idx="9">
                  <c:v>493</c:v>
                </c:pt>
                <c:pt idx="10">
                  <c:v>5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73B-454B-93C2-10EAE6C4DD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307614960"/>
        <c:axId val="307621624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baseline="0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L$1</c:f>
              <c:numCache>
                <c:formatCode>General</c:formatCod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</c:numCache>
            </c:numRef>
          </c:cat>
          <c:val>
            <c:numRef>
              <c:f>Sheet1!$B$4:$L$4</c:f>
              <c:numCache>
                <c:formatCode>#,##0</c:formatCode>
                <c:ptCount val="11"/>
                <c:pt idx="0">
                  <c:v>385</c:v>
                </c:pt>
                <c:pt idx="1">
                  <c:v>410</c:v>
                </c:pt>
                <c:pt idx="2">
                  <c:v>340</c:v>
                </c:pt>
                <c:pt idx="3">
                  <c:v>400</c:v>
                </c:pt>
                <c:pt idx="4">
                  <c:v>470</c:v>
                </c:pt>
                <c:pt idx="5">
                  <c:v>455</c:v>
                </c:pt>
                <c:pt idx="6">
                  <c:v>505</c:v>
                </c:pt>
                <c:pt idx="7">
                  <c:v>540</c:v>
                </c:pt>
                <c:pt idx="8">
                  <c:v>575</c:v>
                </c:pt>
                <c:pt idx="9" formatCode="General">
                  <c:v>565</c:v>
                </c:pt>
                <c:pt idx="10" formatCode="General">
                  <c:v>5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73B-454B-93C2-10EAE6C4DD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7614960"/>
        <c:axId val="307621624"/>
      </c:lineChart>
      <c:catAx>
        <c:axId val="307614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66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 algn="ctr">
              <a:defRPr lang="en-US" sz="12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07621624"/>
        <c:crosses val="autoZero"/>
        <c:auto val="1"/>
        <c:lblAlgn val="ctr"/>
        <c:lblOffset val="20"/>
        <c:noMultiLvlLbl val="0"/>
      </c:catAx>
      <c:valAx>
        <c:axId val="307621624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/>
                  <a:t>Global Reinsurance Capital</a:t>
                </a:r>
              </a:p>
            </c:rich>
          </c:tx>
          <c:layout>
            <c:manualLayout>
              <c:xMode val="edge"/>
              <c:yMode val="edge"/>
              <c:x val="1.3067512217261164E-2"/>
              <c:y val="0.23777641138299713"/>
            </c:manualLayout>
          </c:layout>
          <c:overlay val="0"/>
        </c:title>
        <c:numFmt formatCode="General" sourceLinked="0"/>
        <c:majorTickMark val="out"/>
        <c:minorTickMark val="none"/>
        <c:tickLblPos val="nextTo"/>
        <c:spPr>
          <a:ln w="3167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307614960"/>
        <c:crosses val="autoZero"/>
        <c:crossBetween val="between"/>
      </c:valAx>
      <c:spPr>
        <a:noFill/>
        <a:ln w="25336">
          <a:noFill/>
        </a:ln>
      </c:spPr>
    </c:plotArea>
    <c:legend>
      <c:legendPos val="b"/>
      <c:layout>
        <c:manualLayout>
          <c:xMode val="edge"/>
          <c:yMode val="edge"/>
          <c:x val="0.26102401864625502"/>
          <c:y val="0.92334827744712356"/>
          <c:w val="0.38967477549880125"/>
          <c:h val="5.845611982353608E-2"/>
        </c:manualLayout>
      </c:layout>
      <c:overlay val="0"/>
      <c:txPr>
        <a:bodyPr/>
        <a:lstStyle/>
        <a:p>
          <a:pPr algn="ctr">
            <a:defRPr lang="en-US" sz="1200" b="0" i="0" u="none" strike="noStrike" kern="1200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396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373901954861"/>
          <c:y val="0.23990960028313199"/>
          <c:w val="0.55252199051470896"/>
          <c:h val="0.7600903969272839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46C2-420E-B7ED-8F8938E0E1D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46C2-420E-B7ED-8F8938E0E1D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46C2-420E-B7ED-8F8938E0E1D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Enabling the value chain</c:v>
                </c:pt>
                <c:pt idx="1">
                  <c:v>Disintermediating incumbents from customers</c:v>
                </c:pt>
                <c:pt idx="2">
                  <c:v>Disrupting the value chain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61</c:v>
                </c:pt>
                <c:pt idx="1">
                  <c:v>0.3</c:v>
                </c:pt>
                <c:pt idx="2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6C2-420E-B7ED-8F8938E0E1D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1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FFAB4D-3FE8-46D4-921D-3DAAFD45193A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1E70C20-E506-4FF7-9F1C-765AA78E70C1}">
      <dgm:prSet phldrT="[Text]" custT="1"/>
      <dgm:spPr/>
      <dgm:t>
        <a:bodyPr/>
        <a:lstStyle/>
        <a:p>
          <a:r>
            <a:rPr lang="en-US" sz="1400" b="1" dirty="0"/>
            <a:t>Create Product (Publish the Newspaper)</a:t>
          </a:r>
        </a:p>
      </dgm:t>
    </dgm:pt>
    <dgm:pt modelId="{9453320E-08F2-4A9D-8D02-C93B8993606B}" type="parTrans" cxnId="{1338CEE4-50EB-4CF5-AF76-B68B3DC57411}">
      <dgm:prSet/>
      <dgm:spPr/>
      <dgm:t>
        <a:bodyPr/>
        <a:lstStyle/>
        <a:p>
          <a:endParaRPr lang="en-US" sz="1400"/>
        </a:p>
      </dgm:t>
    </dgm:pt>
    <dgm:pt modelId="{473D3182-B31B-4F17-BE88-DD6E1BE86813}" type="sibTrans" cxnId="{1338CEE4-50EB-4CF5-AF76-B68B3DC57411}">
      <dgm:prSet/>
      <dgm:spPr/>
      <dgm:t>
        <a:bodyPr/>
        <a:lstStyle/>
        <a:p>
          <a:endParaRPr lang="en-US" sz="1400"/>
        </a:p>
      </dgm:t>
    </dgm:pt>
    <dgm:pt modelId="{92545DD2-D102-4073-81E4-5DB851FB631B}">
      <dgm:prSet custT="1"/>
      <dgm:spPr/>
      <dgm:t>
        <a:bodyPr/>
        <a:lstStyle/>
        <a:p>
          <a:r>
            <a:rPr lang="en-US" sz="1400" b="1" dirty="0"/>
            <a:t>Gather Information (News, Ads)</a:t>
          </a:r>
        </a:p>
      </dgm:t>
    </dgm:pt>
    <dgm:pt modelId="{28992293-AD1D-4A88-A481-D7A6A63ED112}" type="parTrans" cxnId="{7CD23DBF-388C-441C-949E-CB6361D32CE9}">
      <dgm:prSet/>
      <dgm:spPr/>
      <dgm:t>
        <a:bodyPr/>
        <a:lstStyle/>
        <a:p>
          <a:endParaRPr lang="en-US" sz="1400"/>
        </a:p>
      </dgm:t>
    </dgm:pt>
    <dgm:pt modelId="{93FDA5C6-8DC8-4A52-A474-9944C73D702B}" type="sibTrans" cxnId="{7CD23DBF-388C-441C-949E-CB6361D32CE9}">
      <dgm:prSet/>
      <dgm:spPr/>
      <dgm:t>
        <a:bodyPr/>
        <a:lstStyle/>
        <a:p>
          <a:endParaRPr lang="en-US" sz="1400"/>
        </a:p>
      </dgm:t>
    </dgm:pt>
    <dgm:pt modelId="{C105252B-CB6E-42AC-A480-84404B6436FC}">
      <dgm:prSet custT="1"/>
      <dgm:spPr/>
      <dgm:t>
        <a:bodyPr/>
        <a:lstStyle/>
        <a:p>
          <a:r>
            <a:rPr lang="en-US" sz="1400" b="1" dirty="0"/>
            <a:t>Distribute Product (Deliver the Newspaper)</a:t>
          </a:r>
        </a:p>
      </dgm:t>
    </dgm:pt>
    <dgm:pt modelId="{0719EF53-D4F9-42B3-979E-6155580564BC}" type="parTrans" cxnId="{44CE299F-EC6B-4D24-A9E3-6DDD273EA76B}">
      <dgm:prSet/>
      <dgm:spPr/>
      <dgm:t>
        <a:bodyPr/>
        <a:lstStyle/>
        <a:p>
          <a:endParaRPr lang="en-US" sz="1400"/>
        </a:p>
      </dgm:t>
    </dgm:pt>
    <dgm:pt modelId="{72A4AA6C-9D90-4FF9-AD71-D409F859D665}" type="sibTrans" cxnId="{44CE299F-EC6B-4D24-A9E3-6DDD273EA76B}">
      <dgm:prSet/>
      <dgm:spPr/>
      <dgm:t>
        <a:bodyPr/>
        <a:lstStyle/>
        <a:p>
          <a:endParaRPr lang="en-US" sz="1400"/>
        </a:p>
      </dgm:t>
    </dgm:pt>
    <dgm:pt modelId="{A9C6EBDA-93C5-42FE-96CD-1EAA2DAC5AF7}">
      <dgm:prSet phldrT="[Text]" custT="1"/>
      <dgm:spPr/>
      <dgm:t>
        <a:bodyPr/>
        <a:lstStyle/>
        <a:p>
          <a:r>
            <a:rPr lang="en-US" sz="1400" b="1" dirty="0"/>
            <a:t>Improve World </a:t>
          </a:r>
        </a:p>
      </dgm:t>
    </dgm:pt>
    <dgm:pt modelId="{65C6B2F2-5192-41F5-8B94-7B66CB34FFA9}" type="parTrans" cxnId="{3D351A5C-E5E2-483F-A60A-4FCD696F511D}">
      <dgm:prSet/>
      <dgm:spPr/>
      <dgm:t>
        <a:bodyPr/>
        <a:lstStyle/>
        <a:p>
          <a:endParaRPr lang="en-US" sz="1400"/>
        </a:p>
      </dgm:t>
    </dgm:pt>
    <dgm:pt modelId="{A872446A-C876-4C34-8318-FD76BFE087CF}" type="sibTrans" cxnId="{3D351A5C-E5E2-483F-A60A-4FCD696F511D}">
      <dgm:prSet/>
      <dgm:spPr/>
      <dgm:t>
        <a:bodyPr/>
        <a:lstStyle/>
        <a:p>
          <a:endParaRPr lang="en-US" sz="1400"/>
        </a:p>
      </dgm:t>
    </dgm:pt>
    <dgm:pt modelId="{D4A30E28-D12B-4434-BE81-41FEA86160A5}">
      <dgm:prSet custT="1"/>
      <dgm:spPr/>
      <dgm:t>
        <a:bodyPr/>
        <a:lstStyle/>
        <a:p>
          <a:r>
            <a:rPr lang="en-US" sz="1400" b="1" dirty="0"/>
            <a:t>Printing Press</a:t>
          </a:r>
        </a:p>
      </dgm:t>
    </dgm:pt>
    <dgm:pt modelId="{CFFA79FE-98F6-4730-A29A-6D389B085EB4}" type="parTrans" cxnId="{DC34C8D8-C699-42D9-A8E1-AF31E1C1B775}">
      <dgm:prSet/>
      <dgm:spPr/>
      <dgm:t>
        <a:bodyPr/>
        <a:lstStyle/>
        <a:p>
          <a:endParaRPr lang="en-US"/>
        </a:p>
      </dgm:t>
    </dgm:pt>
    <dgm:pt modelId="{02316398-8A8C-4646-8EED-F41F19B909C9}" type="sibTrans" cxnId="{DC34C8D8-C699-42D9-A8E1-AF31E1C1B775}">
      <dgm:prSet/>
      <dgm:spPr/>
      <dgm:t>
        <a:bodyPr/>
        <a:lstStyle/>
        <a:p>
          <a:endParaRPr lang="en-US"/>
        </a:p>
      </dgm:t>
    </dgm:pt>
    <dgm:pt modelId="{4E4B4067-D128-4B7B-97B6-B098539D68CC}" type="pres">
      <dgm:prSet presAssocID="{55FFAB4D-3FE8-46D4-921D-3DAAFD45193A}" presName="CompostProcess" presStyleCnt="0">
        <dgm:presLayoutVars>
          <dgm:dir/>
          <dgm:resizeHandles val="exact"/>
        </dgm:presLayoutVars>
      </dgm:prSet>
      <dgm:spPr/>
    </dgm:pt>
    <dgm:pt modelId="{A152B669-C2C7-459C-A64B-5D2800C9DC64}" type="pres">
      <dgm:prSet presAssocID="{55FFAB4D-3FE8-46D4-921D-3DAAFD45193A}" presName="arrow" presStyleLbl="bgShp" presStyleIdx="0" presStyleCnt="1" custLinFactNeighborX="-991" custLinFactNeighborY="-821"/>
      <dgm:spPr/>
    </dgm:pt>
    <dgm:pt modelId="{20A31AA8-B183-4F29-BC32-7AE7D2F588F3}" type="pres">
      <dgm:prSet presAssocID="{55FFAB4D-3FE8-46D4-921D-3DAAFD45193A}" presName="linearProcess" presStyleCnt="0"/>
      <dgm:spPr/>
    </dgm:pt>
    <dgm:pt modelId="{BC2DDC50-D412-46F1-908D-7C2905B6ABE6}" type="pres">
      <dgm:prSet presAssocID="{D4A30E28-D12B-4434-BE81-41FEA86160A5}" presName="textNode" presStyleLbl="node1" presStyleIdx="0" presStyleCnt="5">
        <dgm:presLayoutVars>
          <dgm:bulletEnabled val="1"/>
        </dgm:presLayoutVars>
      </dgm:prSet>
      <dgm:spPr/>
    </dgm:pt>
    <dgm:pt modelId="{3A759DCE-57CB-4370-A534-F3F69CE7AB99}" type="pres">
      <dgm:prSet presAssocID="{02316398-8A8C-4646-8EED-F41F19B909C9}" presName="sibTrans" presStyleCnt="0"/>
      <dgm:spPr/>
    </dgm:pt>
    <dgm:pt modelId="{70A62A1C-F154-4910-9C4E-62E600A80DD4}" type="pres">
      <dgm:prSet presAssocID="{92545DD2-D102-4073-81E4-5DB851FB631B}" presName="textNode" presStyleLbl="node1" presStyleIdx="1" presStyleCnt="5">
        <dgm:presLayoutVars>
          <dgm:bulletEnabled val="1"/>
        </dgm:presLayoutVars>
      </dgm:prSet>
      <dgm:spPr/>
    </dgm:pt>
    <dgm:pt modelId="{7FCF817D-5F5B-436F-9517-BC4BB1F8045C}" type="pres">
      <dgm:prSet presAssocID="{93FDA5C6-8DC8-4A52-A474-9944C73D702B}" presName="sibTrans" presStyleCnt="0"/>
      <dgm:spPr/>
    </dgm:pt>
    <dgm:pt modelId="{94A54FA7-0450-445A-8026-0207A2847018}" type="pres">
      <dgm:prSet presAssocID="{51E70C20-E506-4FF7-9F1C-765AA78E70C1}" presName="textNode" presStyleLbl="node1" presStyleIdx="2" presStyleCnt="5">
        <dgm:presLayoutVars>
          <dgm:bulletEnabled val="1"/>
        </dgm:presLayoutVars>
      </dgm:prSet>
      <dgm:spPr/>
    </dgm:pt>
    <dgm:pt modelId="{48BF1143-71F3-4CD7-A945-30313464EEB9}" type="pres">
      <dgm:prSet presAssocID="{473D3182-B31B-4F17-BE88-DD6E1BE86813}" presName="sibTrans" presStyleCnt="0"/>
      <dgm:spPr/>
    </dgm:pt>
    <dgm:pt modelId="{7E743432-CC7F-4390-8FC6-15CFA3D6582B}" type="pres">
      <dgm:prSet presAssocID="{C105252B-CB6E-42AC-A480-84404B6436FC}" presName="textNode" presStyleLbl="node1" presStyleIdx="3" presStyleCnt="5">
        <dgm:presLayoutVars>
          <dgm:bulletEnabled val="1"/>
        </dgm:presLayoutVars>
      </dgm:prSet>
      <dgm:spPr/>
    </dgm:pt>
    <dgm:pt modelId="{AB308EE6-A83A-4D1E-A643-6E07177AA05E}" type="pres">
      <dgm:prSet presAssocID="{72A4AA6C-9D90-4FF9-AD71-D409F859D665}" presName="sibTrans" presStyleCnt="0"/>
      <dgm:spPr/>
    </dgm:pt>
    <dgm:pt modelId="{6310D234-C0C6-44A1-98F4-7DB8A98AB0CC}" type="pres">
      <dgm:prSet presAssocID="{A9C6EBDA-93C5-42FE-96CD-1EAA2DAC5AF7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A0C3861F-68CE-43F2-ADAA-8AAB82BF350C}" type="presOf" srcId="{51E70C20-E506-4FF7-9F1C-765AA78E70C1}" destId="{94A54FA7-0450-445A-8026-0207A2847018}" srcOrd="0" destOrd="0" presId="urn:microsoft.com/office/officeart/2005/8/layout/hProcess9"/>
    <dgm:cxn modelId="{3D351A5C-E5E2-483F-A60A-4FCD696F511D}" srcId="{55FFAB4D-3FE8-46D4-921D-3DAAFD45193A}" destId="{A9C6EBDA-93C5-42FE-96CD-1EAA2DAC5AF7}" srcOrd="4" destOrd="0" parTransId="{65C6B2F2-5192-41F5-8B94-7B66CB34FFA9}" sibTransId="{A872446A-C876-4C34-8318-FD76BFE087CF}"/>
    <dgm:cxn modelId="{8902E981-52FB-4284-BB6C-E4AA65CD59A9}" type="presOf" srcId="{92545DD2-D102-4073-81E4-5DB851FB631B}" destId="{70A62A1C-F154-4910-9C4E-62E600A80DD4}" srcOrd="0" destOrd="0" presId="urn:microsoft.com/office/officeart/2005/8/layout/hProcess9"/>
    <dgm:cxn modelId="{44CE299F-EC6B-4D24-A9E3-6DDD273EA76B}" srcId="{55FFAB4D-3FE8-46D4-921D-3DAAFD45193A}" destId="{C105252B-CB6E-42AC-A480-84404B6436FC}" srcOrd="3" destOrd="0" parTransId="{0719EF53-D4F9-42B3-979E-6155580564BC}" sibTransId="{72A4AA6C-9D90-4FF9-AD71-D409F859D665}"/>
    <dgm:cxn modelId="{67AEE9A1-2F19-4946-83D3-3806D5F9472E}" type="presOf" srcId="{C105252B-CB6E-42AC-A480-84404B6436FC}" destId="{7E743432-CC7F-4390-8FC6-15CFA3D6582B}" srcOrd="0" destOrd="0" presId="urn:microsoft.com/office/officeart/2005/8/layout/hProcess9"/>
    <dgm:cxn modelId="{7CD23DBF-388C-441C-949E-CB6361D32CE9}" srcId="{55FFAB4D-3FE8-46D4-921D-3DAAFD45193A}" destId="{92545DD2-D102-4073-81E4-5DB851FB631B}" srcOrd="1" destOrd="0" parTransId="{28992293-AD1D-4A88-A481-D7A6A63ED112}" sibTransId="{93FDA5C6-8DC8-4A52-A474-9944C73D702B}"/>
    <dgm:cxn modelId="{DCF76BC5-FDA3-4B63-A3A6-0DA1C93EABA6}" type="presOf" srcId="{A9C6EBDA-93C5-42FE-96CD-1EAA2DAC5AF7}" destId="{6310D234-C0C6-44A1-98F4-7DB8A98AB0CC}" srcOrd="0" destOrd="0" presId="urn:microsoft.com/office/officeart/2005/8/layout/hProcess9"/>
    <dgm:cxn modelId="{0B44ECCF-5EC3-4A54-A9D6-8244B33561C2}" type="presOf" srcId="{55FFAB4D-3FE8-46D4-921D-3DAAFD45193A}" destId="{4E4B4067-D128-4B7B-97B6-B098539D68CC}" srcOrd="0" destOrd="0" presId="urn:microsoft.com/office/officeart/2005/8/layout/hProcess9"/>
    <dgm:cxn modelId="{DC34C8D8-C699-42D9-A8E1-AF31E1C1B775}" srcId="{55FFAB4D-3FE8-46D4-921D-3DAAFD45193A}" destId="{D4A30E28-D12B-4434-BE81-41FEA86160A5}" srcOrd="0" destOrd="0" parTransId="{CFFA79FE-98F6-4730-A29A-6D389B085EB4}" sibTransId="{02316398-8A8C-4646-8EED-F41F19B909C9}"/>
    <dgm:cxn modelId="{1338CEE4-50EB-4CF5-AF76-B68B3DC57411}" srcId="{55FFAB4D-3FE8-46D4-921D-3DAAFD45193A}" destId="{51E70C20-E506-4FF7-9F1C-765AA78E70C1}" srcOrd="2" destOrd="0" parTransId="{9453320E-08F2-4A9D-8D02-C93B8993606B}" sibTransId="{473D3182-B31B-4F17-BE88-DD6E1BE86813}"/>
    <dgm:cxn modelId="{F6B712E8-905E-4045-B68C-8C9704217ABA}" type="presOf" srcId="{D4A30E28-D12B-4434-BE81-41FEA86160A5}" destId="{BC2DDC50-D412-46F1-908D-7C2905B6ABE6}" srcOrd="0" destOrd="0" presId="urn:microsoft.com/office/officeart/2005/8/layout/hProcess9"/>
    <dgm:cxn modelId="{9149D06A-F4ED-4649-B9E4-168162798115}" type="presParOf" srcId="{4E4B4067-D128-4B7B-97B6-B098539D68CC}" destId="{A152B669-C2C7-459C-A64B-5D2800C9DC64}" srcOrd="0" destOrd="0" presId="urn:microsoft.com/office/officeart/2005/8/layout/hProcess9"/>
    <dgm:cxn modelId="{4B81BE72-8E85-4E70-9E64-398300B0C9AA}" type="presParOf" srcId="{4E4B4067-D128-4B7B-97B6-B098539D68CC}" destId="{20A31AA8-B183-4F29-BC32-7AE7D2F588F3}" srcOrd="1" destOrd="0" presId="urn:microsoft.com/office/officeart/2005/8/layout/hProcess9"/>
    <dgm:cxn modelId="{6AA6ABB5-1FC2-430D-B5EA-926264200810}" type="presParOf" srcId="{20A31AA8-B183-4F29-BC32-7AE7D2F588F3}" destId="{BC2DDC50-D412-46F1-908D-7C2905B6ABE6}" srcOrd="0" destOrd="0" presId="urn:microsoft.com/office/officeart/2005/8/layout/hProcess9"/>
    <dgm:cxn modelId="{2DC85411-EA2E-4D52-B49F-8A702D71EA77}" type="presParOf" srcId="{20A31AA8-B183-4F29-BC32-7AE7D2F588F3}" destId="{3A759DCE-57CB-4370-A534-F3F69CE7AB99}" srcOrd="1" destOrd="0" presId="urn:microsoft.com/office/officeart/2005/8/layout/hProcess9"/>
    <dgm:cxn modelId="{7286A81C-A60E-4705-B55C-270E423DAB7D}" type="presParOf" srcId="{20A31AA8-B183-4F29-BC32-7AE7D2F588F3}" destId="{70A62A1C-F154-4910-9C4E-62E600A80DD4}" srcOrd="2" destOrd="0" presId="urn:microsoft.com/office/officeart/2005/8/layout/hProcess9"/>
    <dgm:cxn modelId="{DD85285A-9CE3-483C-946A-C82B956572A5}" type="presParOf" srcId="{20A31AA8-B183-4F29-BC32-7AE7D2F588F3}" destId="{7FCF817D-5F5B-436F-9517-BC4BB1F8045C}" srcOrd="3" destOrd="0" presId="urn:microsoft.com/office/officeart/2005/8/layout/hProcess9"/>
    <dgm:cxn modelId="{231D9347-00B6-41D8-B260-D406FF938F51}" type="presParOf" srcId="{20A31AA8-B183-4F29-BC32-7AE7D2F588F3}" destId="{94A54FA7-0450-445A-8026-0207A2847018}" srcOrd="4" destOrd="0" presId="urn:microsoft.com/office/officeart/2005/8/layout/hProcess9"/>
    <dgm:cxn modelId="{9777739D-48E2-45EE-9260-DCCBFDD06468}" type="presParOf" srcId="{20A31AA8-B183-4F29-BC32-7AE7D2F588F3}" destId="{48BF1143-71F3-4CD7-A945-30313464EEB9}" srcOrd="5" destOrd="0" presId="urn:microsoft.com/office/officeart/2005/8/layout/hProcess9"/>
    <dgm:cxn modelId="{650D1A7F-A8CE-418C-8BAC-57CBDF642204}" type="presParOf" srcId="{20A31AA8-B183-4F29-BC32-7AE7D2F588F3}" destId="{7E743432-CC7F-4390-8FC6-15CFA3D6582B}" srcOrd="6" destOrd="0" presId="urn:microsoft.com/office/officeart/2005/8/layout/hProcess9"/>
    <dgm:cxn modelId="{60DEC2C6-9643-4128-96DC-161971CDB857}" type="presParOf" srcId="{20A31AA8-B183-4F29-BC32-7AE7D2F588F3}" destId="{AB308EE6-A83A-4D1E-A643-6E07177AA05E}" srcOrd="7" destOrd="0" presId="urn:microsoft.com/office/officeart/2005/8/layout/hProcess9"/>
    <dgm:cxn modelId="{42F626D7-FB20-4310-AE90-FB2C3ECEBF76}" type="presParOf" srcId="{20A31AA8-B183-4F29-BC32-7AE7D2F588F3}" destId="{6310D234-C0C6-44A1-98F4-7DB8A98AB0CC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5FFAB4D-3FE8-46D4-921D-3DAAFD45193A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1E70C20-E506-4FF7-9F1C-765AA78E70C1}">
      <dgm:prSet phldrT="[Text]" custT="1"/>
      <dgm:spPr/>
      <dgm:t>
        <a:bodyPr/>
        <a:lstStyle/>
        <a:p>
          <a:r>
            <a:rPr lang="en-US" sz="1400" b="1" dirty="0"/>
            <a:t>Create Policy/ Treaty</a:t>
          </a:r>
        </a:p>
      </dgm:t>
    </dgm:pt>
    <dgm:pt modelId="{9453320E-08F2-4A9D-8D02-C93B8993606B}" type="parTrans" cxnId="{1338CEE4-50EB-4CF5-AF76-B68B3DC57411}">
      <dgm:prSet/>
      <dgm:spPr/>
      <dgm:t>
        <a:bodyPr/>
        <a:lstStyle/>
        <a:p>
          <a:endParaRPr lang="en-US" sz="1400"/>
        </a:p>
      </dgm:t>
    </dgm:pt>
    <dgm:pt modelId="{473D3182-B31B-4F17-BE88-DD6E1BE86813}" type="sibTrans" cxnId="{1338CEE4-50EB-4CF5-AF76-B68B3DC57411}">
      <dgm:prSet/>
      <dgm:spPr/>
      <dgm:t>
        <a:bodyPr/>
        <a:lstStyle/>
        <a:p>
          <a:endParaRPr lang="en-US" sz="1400"/>
        </a:p>
      </dgm:t>
    </dgm:pt>
    <dgm:pt modelId="{92545DD2-D102-4073-81E4-5DB851FB631B}">
      <dgm:prSet custT="1"/>
      <dgm:spPr/>
      <dgm:t>
        <a:bodyPr/>
        <a:lstStyle/>
        <a:p>
          <a:r>
            <a:rPr lang="en-US" sz="1400" b="1" dirty="0"/>
            <a:t>Brains + Bank Account</a:t>
          </a:r>
        </a:p>
      </dgm:t>
    </dgm:pt>
    <dgm:pt modelId="{28992293-AD1D-4A88-A481-D7A6A63ED112}" type="parTrans" cxnId="{7CD23DBF-388C-441C-949E-CB6361D32CE9}">
      <dgm:prSet/>
      <dgm:spPr/>
      <dgm:t>
        <a:bodyPr/>
        <a:lstStyle/>
        <a:p>
          <a:endParaRPr lang="en-US" sz="1400"/>
        </a:p>
      </dgm:t>
    </dgm:pt>
    <dgm:pt modelId="{93FDA5C6-8DC8-4A52-A474-9944C73D702B}" type="sibTrans" cxnId="{7CD23DBF-388C-441C-949E-CB6361D32CE9}">
      <dgm:prSet/>
      <dgm:spPr/>
      <dgm:t>
        <a:bodyPr/>
        <a:lstStyle/>
        <a:p>
          <a:endParaRPr lang="en-US" sz="1400"/>
        </a:p>
      </dgm:t>
    </dgm:pt>
    <dgm:pt modelId="{7F3E23DC-0D50-4D94-89BF-21E67C91798F}">
      <dgm:prSet phldrT="[Text]" custT="1"/>
      <dgm:spPr/>
      <dgm:t>
        <a:bodyPr/>
        <a:lstStyle/>
        <a:p>
          <a:r>
            <a:rPr lang="en-US" sz="1400" b="1" dirty="0"/>
            <a:t>Write Risk</a:t>
          </a:r>
        </a:p>
      </dgm:t>
    </dgm:pt>
    <dgm:pt modelId="{AEE6EF17-C48D-471A-A724-FEBC5BF07BCE}" type="parTrans" cxnId="{B5F7E31A-FB3F-4B1F-9280-006465FD1418}">
      <dgm:prSet/>
      <dgm:spPr/>
      <dgm:t>
        <a:bodyPr/>
        <a:lstStyle/>
        <a:p>
          <a:endParaRPr lang="en-US" sz="1400"/>
        </a:p>
      </dgm:t>
    </dgm:pt>
    <dgm:pt modelId="{7E9FD778-33D0-4AD3-A7CB-6572AF88F984}" type="sibTrans" cxnId="{B5F7E31A-FB3F-4B1F-9280-006465FD1418}">
      <dgm:prSet/>
      <dgm:spPr/>
      <dgm:t>
        <a:bodyPr/>
        <a:lstStyle/>
        <a:p>
          <a:endParaRPr lang="en-US" sz="1400"/>
        </a:p>
      </dgm:t>
    </dgm:pt>
    <dgm:pt modelId="{1EC0E9DE-65AE-44E9-8B2E-3A0D2D7C2891}">
      <dgm:prSet phldrT="[Text]" custT="1"/>
      <dgm:spPr/>
      <dgm:t>
        <a:bodyPr/>
        <a:lstStyle/>
        <a:p>
          <a:r>
            <a:rPr lang="en-US" sz="1400" b="1" dirty="0"/>
            <a:t>Perform Loss Control</a:t>
          </a:r>
        </a:p>
      </dgm:t>
    </dgm:pt>
    <dgm:pt modelId="{3EF247FC-0154-4D91-ADC4-01EC4CBB9EBF}" type="parTrans" cxnId="{C94F532F-6957-4F27-80BA-0BA266982310}">
      <dgm:prSet/>
      <dgm:spPr/>
      <dgm:t>
        <a:bodyPr/>
        <a:lstStyle/>
        <a:p>
          <a:endParaRPr lang="en-US" sz="1400"/>
        </a:p>
      </dgm:t>
    </dgm:pt>
    <dgm:pt modelId="{0744D38E-BDE4-43B1-BE4D-1F2269C53D68}" type="sibTrans" cxnId="{C94F532F-6957-4F27-80BA-0BA266982310}">
      <dgm:prSet/>
      <dgm:spPr/>
      <dgm:t>
        <a:bodyPr/>
        <a:lstStyle/>
        <a:p>
          <a:endParaRPr lang="en-US" sz="1400"/>
        </a:p>
      </dgm:t>
    </dgm:pt>
    <dgm:pt modelId="{0DF18A4E-2471-42A4-A709-06BF829EF0A1}">
      <dgm:prSet phldrT="[Text]" custT="1"/>
      <dgm:spPr/>
      <dgm:t>
        <a:bodyPr/>
        <a:lstStyle/>
        <a:p>
          <a:r>
            <a:rPr lang="en-US" sz="1400" b="1" dirty="0"/>
            <a:t>Settle Claims</a:t>
          </a:r>
        </a:p>
      </dgm:t>
    </dgm:pt>
    <dgm:pt modelId="{D991F317-9FDB-4F2C-B9A6-15A9BC6C8A1F}" type="parTrans" cxnId="{CC1BA577-5DFE-4AE7-8BE8-BCB1DA4DA14A}">
      <dgm:prSet/>
      <dgm:spPr/>
      <dgm:t>
        <a:bodyPr/>
        <a:lstStyle/>
        <a:p>
          <a:endParaRPr lang="en-US" sz="1400"/>
        </a:p>
      </dgm:t>
    </dgm:pt>
    <dgm:pt modelId="{A3F197BE-3C0D-4148-B8A0-04A135A93812}" type="sibTrans" cxnId="{CC1BA577-5DFE-4AE7-8BE8-BCB1DA4DA14A}">
      <dgm:prSet/>
      <dgm:spPr/>
      <dgm:t>
        <a:bodyPr/>
        <a:lstStyle/>
        <a:p>
          <a:endParaRPr lang="en-US" sz="1400"/>
        </a:p>
      </dgm:t>
    </dgm:pt>
    <dgm:pt modelId="{C105252B-CB6E-42AC-A480-84404B6436FC}">
      <dgm:prSet custT="1"/>
      <dgm:spPr/>
      <dgm:t>
        <a:bodyPr/>
        <a:lstStyle/>
        <a:p>
          <a:r>
            <a:rPr lang="en-US" sz="1400" b="1" dirty="0"/>
            <a:t>Market Policy/ Treaty</a:t>
          </a:r>
        </a:p>
      </dgm:t>
    </dgm:pt>
    <dgm:pt modelId="{0719EF53-D4F9-42B3-979E-6155580564BC}" type="parTrans" cxnId="{44CE299F-EC6B-4D24-A9E3-6DDD273EA76B}">
      <dgm:prSet/>
      <dgm:spPr/>
      <dgm:t>
        <a:bodyPr/>
        <a:lstStyle/>
        <a:p>
          <a:endParaRPr lang="en-US" sz="1400"/>
        </a:p>
      </dgm:t>
    </dgm:pt>
    <dgm:pt modelId="{72A4AA6C-9D90-4FF9-AD71-D409F859D665}" type="sibTrans" cxnId="{44CE299F-EC6B-4D24-A9E3-6DDD273EA76B}">
      <dgm:prSet/>
      <dgm:spPr/>
      <dgm:t>
        <a:bodyPr/>
        <a:lstStyle/>
        <a:p>
          <a:endParaRPr lang="en-US" sz="1400"/>
        </a:p>
      </dgm:t>
    </dgm:pt>
    <dgm:pt modelId="{A9C6EBDA-93C5-42FE-96CD-1EAA2DAC5AF7}">
      <dgm:prSet phldrT="[Text]" custT="1"/>
      <dgm:spPr/>
      <dgm:t>
        <a:bodyPr/>
        <a:lstStyle/>
        <a:p>
          <a:r>
            <a:rPr lang="en-US" sz="1400" b="1" dirty="0"/>
            <a:t>Improve World </a:t>
          </a:r>
        </a:p>
      </dgm:t>
    </dgm:pt>
    <dgm:pt modelId="{65C6B2F2-5192-41F5-8B94-7B66CB34FFA9}" type="parTrans" cxnId="{3D351A5C-E5E2-483F-A60A-4FCD696F511D}">
      <dgm:prSet/>
      <dgm:spPr/>
      <dgm:t>
        <a:bodyPr/>
        <a:lstStyle/>
        <a:p>
          <a:endParaRPr lang="en-US" sz="1400"/>
        </a:p>
      </dgm:t>
    </dgm:pt>
    <dgm:pt modelId="{A872446A-C876-4C34-8318-FD76BFE087CF}" type="sibTrans" cxnId="{3D351A5C-E5E2-483F-A60A-4FCD696F511D}">
      <dgm:prSet/>
      <dgm:spPr/>
      <dgm:t>
        <a:bodyPr/>
        <a:lstStyle/>
        <a:p>
          <a:endParaRPr lang="en-US" sz="1400"/>
        </a:p>
      </dgm:t>
    </dgm:pt>
    <dgm:pt modelId="{2B07AB65-1F2B-4D45-972B-1C1AA13814EC}">
      <dgm:prSet phldrT="[Text]" custT="1"/>
      <dgm:spPr/>
      <dgm:t>
        <a:bodyPr/>
        <a:lstStyle/>
        <a:p>
          <a:r>
            <a:rPr lang="en-US" sz="1400" b="1" dirty="0"/>
            <a:t>Price Risk</a:t>
          </a:r>
        </a:p>
      </dgm:t>
    </dgm:pt>
    <dgm:pt modelId="{762E9C64-3965-4959-B96A-8A388D84F14A}" type="sibTrans" cxnId="{C6335219-35F7-4BB7-9FBA-0BFA5DC9251D}">
      <dgm:prSet/>
      <dgm:spPr/>
      <dgm:t>
        <a:bodyPr/>
        <a:lstStyle/>
        <a:p>
          <a:endParaRPr lang="en-US" sz="1400"/>
        </a:p>
      </dgm:t>
    </dgm:pt>
    <dgm:pt modelId="{CED6E3D6-A3C9-40EA-92F9-235ABE8206A4}" type="parTrans" cxnId="{C6335219-35F7-4BB7-9FBA-0BFA5DC9251D}">
      <dgm:prSet/>
      <dgm:spPr/>
      <dgm:t>
        <a:bodyPr/>
        <a:lstStyle/>
        <a:p>
          <a:endParaRPr lang="en-US" sz="1400"/>
        </a:p>
      </dgm:t>
    </dgm:pt>
    <dgm:pt modelId="{4E4B4067-D128-4B7B-97B6-B098539D68CC}" type="pres">
      <dgm:prSet presAssocID="{55FFAB4D-3FE8-46D4-921D-3DAAFD45193A}" presName="CompostProcess" presStyleCnt="0">
        <dgm:presLayoutVars>
          <dgm:dir/>
          <dgm:resizeHandles val="exact"/>
        </dgm:presLayoutVars>
      </dgm:prSet>
      <dgm:spPr/>
    </dgm:pt>
    <dgm:pt modelId="{A152B669-C2C7-459C-A64B-5D2800C9DC64}" type="pres">
      <dgm:prSet presAssocID="{55FFAB4D-3FE8-46D4-921D-3DAAFD45193A}" presName="arrow" presStyleLbl="bgShp" presStyleIdx="0" presStyleCnt="1" custLinFactNeighborX="-991" custLinFactNeighborY="-821"/>
      <dgm:spPr/>
    </dgm:pt>
    <dgm:pt modelId="{20A31AA8-B183-4F29-BC32-7AE7D2F588F3}" type="pres">
      <dgm:prSet presAssocID="{55FFAB4D-3FE8-46D4-921D-3DAAFD45193A}" presName="linearProcess" presStyleCnt="0"/>
      <dgm:spPr/>
    </dgm:pt>
    <dgm:pt modelId="{70A62A1C-F154-4910-9C4E-62E600A80DD4}" type="pres">
      <dgm:prSet presAssocID="{92545DD2-D102-4073-81E4-5DB851FB631B}" presName="textNode" presStyleLbl="node1" presStyleIdx="0" presStyleCnt="8">
        <dgm:presLayoutVars>
          <dgm:bulletEnabled val="1"/>
        </dgm:presLayoutVars>
      </dgm:prSet>
      <dgm:spPr/>
    </dgm:pt>
    <dgm:pt modelId="{7FCF817D-5F5B-436F-9517-BC4BB1F8045C}" type="pres">
      <dgm:prSet presAssocID="{93FDA5C6-8DC8-4A52-A474-9944C73D702B}" presName="sibTrans" presStyleCnt="0"/>
      <dgm:spPr/>
    </dgm:pt>
    <dgm:pt modelId="{94A54FA7-0450-445A-8026-0207A2847018}" type="pres">
      <dgm:prSet presAssocID="{51E70C20-E506-4FF7-9F1C-765AA78E70C1}" presName="textNode" presStyleLbl="node1" presStyleIdx="1" presStyleCnt="8">
        <dgm:presLayoutVars>
          <dgm:bulletEnabled val="1"/>
        </dgm:presLayoutVars>
      </dgm:prSet>
      <dgm:spPr/>
    </dgm:pt>
    <dgm:pt modelId="{48BF1143-71F3-4CD7-A945-30313464EEB9}" type="pres">
      <dgm:prSet presAssocID="{473D3182-B31B-4F17-BE88-DD6E1BE86813}" presName="sibTrans" presStyleCnt="0"/>
      <dgm:spPr/>
    </dgm:pt>
    <dgm:pt modelId="{7E743432-CC7F-4390-8FC6-15CFA3D6582B}" type="pres">
      <dgm:prSet presAssocID="{C105252B-CB6E-42AC-A480-84404B6436FC}" presName="textNode" presStyleLbl="node1" presStyleIdx="2" presStyleCnt="8">
        <dgm:presLayoutVars>
          <dgm:bulletEnabled val="1"/>
        </dgm:presLayoutVars>
      </dgm:prSet>
      <dgm:spPr/>
    </dgm:pt>
    <dgm:pt modelId="{AB308EE6-A83A-4D1E-A643-6E07177AA05E}" type="pres">
      <dgm:prSet presAssocID="{72A4AA6C-9D90-4FF9-AD71-D409F859D665}" presName="sibTrans" presStyleCnt="0"/>
      <dgm:spPr/>
    </dgm:pt>
    <dgm:pt modelId="{2EA539DF-C130-472D-9E00-B45561132935}" type="pres">
      <dgm:prSet presAssocID="{7F3E23DC-0D50-4D94-89BF-21E67C91798F}" presName="textNode" presStyleLbl="node1" presStyleIdx="3" presStyleCnt="8">
        <dgm:presLayoutVars>
          <dgm:bulletEnabled val="1"/>
        </dgm:presLayoutVars>
      </dgm:prSet>
      <dgm:spPr/>
    </dgm:pt>
    <dgm:pt modelId="{2666BD86-5DE5-4BA8-96E9-30BC49B30967}" type="pres">
      <dgm:prSet presAssocID="{7E9FD778-33D0-4AD3-A7CB-6572AF88F984}" presName="sibTrans" presStyleCnt="0"/>
      <dgm:spPr/>
    </dgm:pt>
    <dgm:pt modelId="{8E560B7B-C1C6-4174-B929-8A0EC41215B3}" type="pres">
      <dgm:prSet presAssocID="{2B07AB65-1F2B-4D45-972B-1C1AA13814EC}" presName="textNode" presStyleLbl="node1" presStyleIdx="4" presStyleCnt="8">
        <dgm:presLayoutVars>
          <dgm:bulletEnabled val="1"/>
        </dgm:presLayoutVars>
      </dgm:prSet>
      <dgm:spPr/>
    </dgm:pt>
    <dgm:pt modelId="{FE9409D4-1089-49C1-BDF8-5237F5CB3535}" type="pres">
      <dgm:prSet presAssocID="{762E9C64-3965-4959-B96A-8A388D84F14A}" presName="sibTrans" presStyleCnt="0"/>
      <dgm:spPr/>
    </dgm:pt>
    <dgm:pt modelId="{8430E4D2-4BE5-4033-A40B-7D01DC320A25}" type="pres">
      <dgm:prSet presAssocID="{1EC0E9DE-65AE-44E9-8B2E-3A0D2D7C2891}" presName="textNode" presStyleLbl="node1" presStyleIdx="5" presStyleCnt="8">
        <dgm:presLayoutVars>
          <dgm:bulletEnabled val="1"/>
        </dgm:presLayoutVars>
      </dgm:prSet>
      <dgm:spPr/>
    </dgm:pt>
    <dgm:pt modelId="{90F9E2C3-A749-47EA-9ACE-BCB8AB3EA74A}" type="pres">
      <dgm:prSet presAssocID="{0744D38E-BDE4-43B1-BE4D-1F2269C53D68}" presName="sibTrans" presStyleCnt="0"/>
      <dgm:spPr/>
    </dgm:pt>
    <dgm:pt modelId="{DA227052-28CD-48CA-B212-6CE9437E2590}" type="pres">
      <dgm:prSet presAssocID="{0DF18A4E-2471-42A4-A709-06BF829EF0A1}" presName="textNode" presStyleLbl="node1" presStyleIdx="6" presStyleCnt="8">
        <dgm:presLayoutVars>
          <dgm:bulletEnabled val="1"/>
        </dgm:presLayoutVars>
      </dgm:prSet>
      <dgm:spPr/>
    </dgm:pt>
    <dgm:pt modelId="{5F50013E-F129-4FC1-9BFD-B49D23E33F90}" type="pres">
      <dgm:prSet presAssocID="{A3F197BE-3C0D-4148-B8A0-04A135A93812}" presName="sibTrans" presStyleCnt="0"/>
      <dgm:spPr/>
    </dgm:pt>
    <dgm:pt modelId="{6310D234-C0C6-44A1-98F4-7DB8A98AB0CC}" type="pres">
      <dgm:prSet presAssocID="{A9C6EBDA-93C5-42FE-96CD-1EAA2DAC5AF7}" presName="textNode" presStyleLbl="node1" presStyleIdx="7" presStyleCnt="8">
        <dgm:presLayoutVars>
          <dgm:bulletEnabled val="1"/>
        </dgm:presLayoutVars>
      </dgm:prSet>
      <dgm:spPr/>
    </dgm:pt>
  </dgm:ptLst>
  <dgm:cxnLst>
    <dgm:cxn modelId="{C6335219-35F7-4BB7-9FBA-0BFA5DC9251D}" srcId="{55FFAB4D-3FE8-46D4-921D-3DAAFD45193A}" destId="{2B07AB65-1F2B-4D45-972B-1C1AA13814EC}" srcOrd="4" destOrd="0" parTransId="{CED6E3D6-A3C9-40EA-92F9-235ABE8206A4}" sibTransId="{762E9C64-3965-4959-B96A-8A388D84F14A}"/>
    <dgm:cxn modelId="{B5F7E31A-FB3F-4B1F-9280-006465FD1418}" srcId="{55FFAB4D-3FE8-46D4-921D-3DAAFD45193A}" destId="{7F3E23DC-0D50-4D94-89BF-21E67C91798F}" srcOrd="3" destOrd="0" parTransId="{AEE6EF17-C48D-471A-A724-FEBC5BF07BCE}" sibTransId="{7E9FD778-33D0-4AD3-A7CB-6572AF88F984}"/>
    <dgm:cxn modelId="{A0C3861F-68CE-43F2-ADAA-8AAB82BF350C}" type="presOf" srcId="{51E70C20-E506-4FF7-9F1C-765AA78E70C1}" destId="{94A54FA7-0450-445A-8026-0207A2847018}" srcOrd="0" destOrd="0" presId="urn:microsoft.com/office/officeart/2005/8/layout/hProcess9"/>
    <dgm:cxn modelId="{C94F532F-6957-4F27-80BA-0BA266982310}" srcId="{55FFAB4D-3FE8-46D4-921D-3DAAFD45193A}" destId="{1EC0E9DE-65AE-44E9-8B2E-3A0D2D7C2891}" srcOrd="5" destOrd="0" parTransId="{3EF247FC-0154-4D91-ADC4-01EC4CBB9EBF}" sibTransId="{0744D38E-BDE4-43B1-BE4D-1F2269C53D68}"/>
    <dgm:cxn modelId="{D6654E3B-19F7-4AE8-834A-D2BE47776D9D}" type="presOf" srcId="{2B07AB65-1F2B-4D45-972B-1C1AA13814EC}" destId="{8E560B7B-C1C6-4174-B929-8A0EC41215B3}" srcOrd="0" destOrd="0" presId="urn:microsoft.com/office/officeart/2005/8/layout/hProcess9"/>
    <dgm:cxn modelId="{3D351A5C-E5E2-483F-A60A-4FCD696F511D}" srcId="{55FFAB4D-3FE8-46D4-921D-3DAAFD45193A}" destId="{A9C6EBDA-93C5-42FE-96CD-1EAA2DAC5AF7}" srcOrd="7" destOrd="0" parTransId="{65C6B2F2-5192-41F5-8B94-7B66CB34FFA9}" sibTransId="{A872446A-C876-4C34-8318-FD76BFE087CF}"/>
    <dgm:cxn modelId="{8F85756A-FD3E-4704-BBDD-BFB09542D4CB}" type="presOf" srcId="{7F3E23DC-0D50-4D94-89BF-21E67C91798F}" destId="{2EA539DF-C130-472D-9E00-B45561132935}" srcOrd="0" destOrd="0" presId="urn:microsoft.com/office/officeart/2005/8/layout/hProcess9"/>
    <dgm:cxn modelId="{CC1BA577-5DFE-4AE7-8BE8-BCB1DA4DA14A}" srcId="{55FFAB4D-3FE8-46D4-921D-3DAAFD45193A}" destId="{0DF18A4E-2471-42A4-A709-06BF829EF0A1}" srcOrd="6" destOrd="0" parTransId="{D991F317-9FDB-4F2C-B9A6-15A9BC6C8A1F}" sibTransId="{A3F197BE-3C0D-4148-B8A0-04A135A93812}"/>
    <dgm:cxn modelId="{11569A78-704D-4B62-9DCB-4EF08A5B2513}" type="presOf" srcId="{1EC0E9DE-65AE-44E9-8B2E-3A0D2D7C2891}" destId="{8430E4D2-4BE5-4033-A40B-7D01DC320A25}" srcOrd="0" destOrd="0" presId="urn:microsoft.com/office/officeart/2005/8/layout/hProcess9"/>
    <dgm:cxn modelId="{8902E981-52FB-4284-BB6C-E4AA65CD59A9}" type="presOf" srcId="{92545DD2-D102-4073-81E4-5DB851FB631B}" destId="{70A62A1C-F154-4910-9C4E-62E600A80DD4}" srcOrd="0" destOrd="0" presId="urn:microsoft.com/office/officeart/2005/8/layout/hProcess9"/>
    <dgm:cxn modelId="{C4431D87-6480-45BE-9A51-454C75082B9A}" type="presOf" srcId="{0DF18A4E-2471-42A4-A709-06BF829EF0A1}" destId="{DA227052-28CD-48CA-B212-6CE9437E2590}" srcOrd="0" destOrd="0" presId="urn:microsoft.com/office/officeart/2005/8/layout/hProcess9"/>
    <dgm:cxn modelId="{44CE299F-EC6B-4D24-A9E3-6DDD273EA76B}" srcId="{55FFAB4D-3FE8-46D4-921D-3DAAFD45193A}" destId="{C105252B-CB6E-42AC-A480-84404B6436FC}" srcOrd="2" destOrd="0" parTransId="{0719EF53-D4F9-42B3-979E-6155580564BC}" sibTransId="{72A4AA6C-9D90-4FF9-AD71-D409F859D665}"/>
    <dgm:cxn modelId="{67AEE9A1-2F19-4946-83D3-3806D5F9472E}" type="presOf" srcId="{C105252B-CB6E-42AC-A480-84404B6436FC}" destId="{7E743432-CC7F-4390-8FC6-15CFA3D6582B}" srcOrd="0" destOrd="0" presId="urn:microsoft.com/office/officeart/2005/8/layout/hProcess9"/>
    <dgm:cxn modelId="{7CD23DBF-388C-441C-949E-CB6361D32CE9}" srcId="{55FFAB4D-3FE8-46D4-921D-3DAAFD45193A}" destId="{92545DD2-D102-4073-81E4-5DB851FB631B}" srcOrd="0" destOrd="0" parTransId="{28992293-AD1D-4A88-A481-D7A6A63ED112}" sibTransId="{93FDA5C6-8DC8-4A52-A474-9944C73D702B}"/>
    <dgm:cxn modelId="{DCF76BC5-FDA3-4B63-A3A6-0DA1C93EABA6}" type="presOf" srcId="{A9C6EBDA-93C5-42FE-96CD-1EAA2DAC5AF7}" destId="{6310D234-C0C6-44A1-98F4-7DB8A98AB0CC}" srcOrd="0" destOrd="0" presId="urn:microsoft.com/office/officeart/2005/8/layout/hProcess9"/>
    <dgm:cxn modelId="{0B44ECCF-5EC3-4A54-A9D6-8244B33561C2}" type="presOf" srcId="{55FFAB4D-3FE8-46D4-921D-3DAAFD45193A}" destId="{4E4B4067-D128-4B7B-97B6-B098539D68CC}" srcOrd="0" destOrd="0" presId="urn:microsoft.com/office/officeart/2005/8/layout/hProcess9"/>
    <dgm:cxn modelId="{1338CEE4-50EB-4CF5-AF76-B68B3DC57411}" srcId="{55FFAB4D-3FE8-46D4-921D-3DAAFD45193A}" destId="{51E70C20-E506-4FF7-9F1C-765AA78E70C1}" srcOrd="1" destOrd="0" parTransId="{9453320E-08F2-4A9D-8D02-C93B8993606B}" sibTransId="{473D3182-B31B-4F17-BE88-DD6E1BE86813}"/>
    <dgm:cxn modelId="{9149D06A-F4ED-4649-B9E4-168162798115}" type="presParOf" srcId="{4E4B4067-D128-4B7B-97B6-B098539D68CC}" destId="{A152B669-C2C7-459C-A64B-5D2800C9DC64}" srcOrd="0" destOrd="0" presId="urn:microsoft.com/office/officeart/2005/8/layout/hProcess9"/>
    <dgm:cxn modelId="{4B81BE72-8E85-4E70-9E64-398300B0C9AA}" type="presParOf" srcId="{4E4B4067-D128-4B7B-97B6-B098539D68CC}" destId="{20A31AA8-B183-4F29-BC32-7AE7D2F588F3}" srcOrd="1" destOrd="0" presId="urn:microsoft.com/office/officeart/2005/8/layout/hProcess9"/>
    <dgm:cxn modelId="{7286A81C-A60E-4705-B55C-270E423DAB7D}" type="presParOf" srcId="{20A31AA8-B183-4F29-BC32-7AE7D2F588F3}" destId="{70A62A1C-F154-4910-9C4E-62E600A80DD4}" srcOrd="0" destOrd="0" presId="urn:microsoft.com/office/officeart/2005/8/layout/hProcess9"/>
    <dgm:cxn modelId="{DD85285A-9CE3-483C-946A-C82B956572A5}" type="presParOf" srcId="{20A31AA8-B183-4F29-BC32-7AE7D2F588F3}" destId="{7FCF817D-5F5B-436F-9517-BC4BB1F8045C}" srcOrd="1" destOrd="0" presId="urn:microsoft.com/office/officeart/2005/8/layout/hProcess9"/>
    <dgm:cxn modelId="{231D9347-00B6-41D8-B260-D406FF938F51}" type="presParOf" srcId="{20A31AA8-B183-4F29-BC32-7AE7D2F588F3}" destId="{94A54FA7-0450-445A-8026-0207A2847018}" srcOrd="2" destOrd="0" presId="urn:microsoft.com/office/officeart/2005/8/layout/hProcess9"/>
    <dgm:cxn modelId="{9777739D-48E2-45EE-9260-DCCBFDD06468}" type="presParOf" srcId="{20A31AA8-B183-4F29-BC32-7AE7D2F588F3}" destId="{48BF1143-71F3-4CD7-A945-30313464EEB9}" srcOrd="3" destOrd="0" presId="urn:microsoft.com/office/officeart/2005/8/layout/hProcess9"/>
    <dgm:cxn modelId="{650D1A7F-A8CE-418C-8BAC-57CBDF642204}" type="presParOf" srcId="{20A31AA8-B183-4F29-BC32-7AE7D2F588F3}" destId="{7E743432-CC7F-4390-8FC6-15CFA3D6582B}" srcOrd="4" destOrd="0" presId="urn:microsoft.com/office/officeart/2005/8/layout/hProcess9"/>
    <dgm:cxn modelId="{60DEC2C6-9643-4128-96DC-161971CDB857}" type="presParOf" srcId="{20A31AA8-B183-4F29-BC32-7AE7D2F588F3}" destId="{AB308EE6-A83A-4D1E-A643-6E07177AA05E}" srcOrd="5" destOrd="0" presId="urn:microsoft.com/office/officeart/2005/8/layout/hProcess9"/>
    <dgm:cxn modelId="{C5611A2B-36EC-4C66-BCBA-07D3BAD376F8}" type="presParOf" srcId="{20A31AA8-B183-4F29-BC32-7AE7D2F588F3}" destId="{2EA539DF-C130-472D-9E00-B45561132935}" srcOrd="6" destOrd="0" presId="urn:microsoft.com/office/officeart/2005/8/layout/hProcess9"/>
    <dgm:cxn modelId="{922F67F3-3ABF-4200-8584-CBE0E452D585}" type="presParOf" srcId="{20A31AA8-B183-4F29-BC32-7AE7D2F588F3}" destId="{2666BD86-5DE5-4BA8-96E9-30BC49B30967}" srcOrd="7" destOrd="0" presId="urn:microsoft.com/office/officeart/2005/8/layout/hProcess9"/>
    <dgm:cxn modelId="{ED14E6DD-1206-4853-A60F-1FD2E668370A}" type="presParOf" srcId="{20A31AA8-B183-4F29-BC32-7AE7D2F588F3}" destId="{8E560B7B-C1C6-4174-B929-8A0EC41215B3}" srcOrd="8" destOrd="0" presId="urn:microsoft.com/office/officeart/2005/8/layout/hProcess9"/>
    <dgm:cxn modelId="{845C4483-3795-4099-AF89-A3B0E9CF9F9B}" type="presParOf" srcId="{20A31AA8-B183-4F29-BC32-7AE7D2F588F3}" destId="{FE9409D4-1089-49C1-BDF8-5237F5CB3535}" srcOrd="9" destOrd="0" presId="urn:microsoft.com/office/officeart/2005/8/layout/hProcess9"/>
    <dgm:cxn modelId="{A6CD04A1-1312-4DA0-9E4C-CD2314997F87}" type="presParOf" srcId="{20A31AA8-B183-4F29-BC32-7AE7D2F588F3}" destId="{8430E4D2-4BE5-4033-A40B-7D01DC320A25}" srcOrd="10" destOrd="0" presId="urn:microsoft.com/office/officeart/2005/8/layout/hProcess9"/>
    <dgm:cxn modelId="{DDC072CE-4176-4610-AA27-3065598A39A0}" type="presParOf" srcId="{20A31AA8-B183-4F29-BC32-7AE7D2F588F3}" destId="{90F9E2C3-A749-47EA-9ACE-BCB8AB3EA74A}" srcOrd="11" destOrd="0" presId="urn:microsoft.com/office/officeart/2005/8/layout/hProcess9"/>
    <dgm:cxn modelId="{DBA5198D-D6D2-4000-A864-173F2683B2AE}" type="presParOf" srcId="{20A31AA8-B183-4F29-BC32-7AE7D2F588F3}" destId="{DA227052-28CD-48CA-B212-6CE9437E2590}" srcOrd="12" destOrd="0" presId="urn:microsoft.com/office/officeart/2005/8/layout/hProcess9"/>
    <dgm:cxn modelId="{9289D667-7FA3-44D5-BF31-9BD4BEEF9DC5}" type="presParOf" srcId="{20A31AA8-B183-4F29-BC32-7AE7D2F588F3}" destId="{5F50013E-F129-4FC1-9BFD-B49D23E33F90}" srcOrd="13" destOrd="0" presId="urn:microsoft.com/office/officeart/2005/8/layout/hProcess9"/>
    <dgm:cxn modelId="{42F626D7-FB20-4310-AE90-FB2C3ECEBF76}" type="presParOf" srcId="{20A31AA8-B183-4F29-BC32-7AE7D2F588F3}" destId="{6310D234-C0C6-44A1-98F4-7DB8A98AB0CC}" srcOrd="1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52B669-C2C7-459C-A64B-5D2800C9DC64}">
      <dsp:nvSpPr>
        <dsp:cNvPr id="0" name=""/>
        <dsp:cNvSpPr/>
      </dsp:nvSpPr>
      <dsp:spPr>
        <a:xfrm>
          <a:off x="563117" y="0"/>
          <a:ext cx="7189470" cy="4040187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2DDC50-D412-46F1-908D-7C2905B6ABE6}">
      <dsp:nvSpPr>
        <dsp:cNvPr id="0" name=""/>
        <dsp:cNvSpPr/>
      </dsp:nvSpPr>
      <dsp:spPr>
        <a:xfrm>
          <a:off x="2477" y="1212056"/>
          <a:ext cx="1491748" cy="16160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Printing Press</a:t>
          </a:r>
        </a:p>
      </dsp:txBody>
      <dsp:txXfrm>
        <a:off x="75298" y="1284877"/>
        <a:ext cx="1346106" cy="1470432"/>
      </dsp:txXfrm>
    </dsp:sp>
    <dsp:sp modelId="{70A62A1C-F154-4910-9C4E-62E600A80DD4}">
      <dsp:nvSpPr>
        <dsp:cNvPr id="0" name=""/>
        <dsp:cNvSpPr/>
      </dsp:nvSpPr>
      <dsp:spPr>
        <a:xfrm>
          <a:off x="1742851" y="1212056"/>
          <a:ext cx="1491748" cy="16160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Gather Information (News, Ads)</a:t>
          </a:r>
        </a:p>
      </dsp:txBody>
      <dsp:txXfrm>
        <a:off x="1815672" y="1284877"/>
        <a:ext cx="1346106" cy="1470432"/>
      </dsp:txXfrm>
    </dsp:sp>
    <dsp:sp modelId="{94A54FA7-0450-445A-8026-0207A2847018}">
      <dsp:nvSpPr>
        <dsp:cNvPr id="0" name=""/>
        <dsp:cNvSpPr/>
      </dsp:nvSpPr>
      <dsp:spPr>
        <a:xfrm>
          <a:off x="3483225" y="1212056"/>
          <a:ext cx="1491748" cy="16160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Create Product (Publish the Newspaper)</a:t>
          </a:r>
        </a:p>
      </dsp:txBody>
      <dsp:txXfrm>
        <a:off x="3556046" y="1284877"/>
        <a:ext cx="1346106" cy="1470432"/>
      </dsp:txXfrm>
    </dsp:sp>
    <dsp:sp modelId="{7E743432-CC7F-4390-8FC6-15CFA3D6582B}">
      <dsp:nvSpPr>
        <dsp:cNvPr id="0" name=""/>
        <dsp:cNvSpPr/>
      </dsp:nvSpPr>
      <dsp:spPr>
        <a:xfrm>
          <a:off x="5223599" y="1212056"/>
          <a:ext cx="1491748" cy="16160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Distribute Product (Deliver the Newspaper)</a:t>
          </a:r>
        </a:p>
      </dsp:txBody>
      <dsp:txXfrm>
        <a:off x="5296420" y="1284877"/>
        <a:ext cx="1346106" cy="1470432"/>
      </dsp:txXfrm>
    </dsp:sp>
    <dsp:sp modelId="{6310D234-C0C6-44A1-98F4-7DB8A98AB0CC}">
      <dsp:nvSpPr>
        <dsp:cNvPr id="0" name=""/>
        <dsp:cNvSpPr/>
      </dsp:nvSpPr>
      <dsp:spPr>
        <a:xfrm>
          <a:off x="6963973" y="1212056"/>
          <a:ext cx="1491748" cy="16160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Improve World </a:t>
          </a:r>
        </a:p>
      </dsp:txBody>
      <dsp:txXfrm>
        <a:off x="7036794" y="1284877"/>
        <a:ext cx="1346106" cy="147043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52B669-C2C7-459C-A64B-5D2800C9DC64}">
      <dsp:nvSpPr>
        <dsp:cNvPr id="0" name=""/>
        <dsp:cNvSpPr/>
      </dsp:nvSpPr>
      <dsp:spPr>
        <a:xfrm>
          <a:off x="563117" y="0"/>
          <a:ext cx="7189470" cy="4040187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A62A1C-F154-4910-9C4E-62E600A80DD4}">
      <dsp:nvSpPr>
        <dsp:cNvPr id="0" name=""/>
        <dsp:cNvSpPr/>
      </dsp:nvSpPr>
      <dsp:spPr>
        <a:xfrm>
          <a:off x="4129" y="1212056"/>
          <a:ext cx="921811" cy="16160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Brains + Bank Account</a:t>
          </a:r>
        </a:p>
      </dsp:txBody>
      <dsp:txXfrm>
        <a:off x="49128" y="1257055"/>
        <a:ext cx="831813" cy="1526076"/>
      </dsp:txXfrm>
    </dsp:sp>
    <dsp:sp modelId="{94A54FA7-0450-445A-8026-0207A2847018}">
      <dsp:nvSpPr>
        <dsp:cNvPr id="0" name=""/>
        <dsp:cNvSpPr/>
      </dsp:nvSpPr>
      <dsp:spPr>
        <a:xfrm>
          <a:off x="1079576" y="1212056"/>
          <a:ext cx="921811" cy="16160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Create Policy/ Treaty</a:t>
          </a:r>
        </a:p>
      </dsp:txBody>
      <dsp:txXfrm>
        <a:off x="1124575" y="1257055"/>
        <a:ext cx="831813" cy="1526076"/>
      </dsp:txXfrm>
    </dsp:sp>
    <dsp:sp modelId="{7E743432-CC7F-4390-8FC6-15CFA3D6582B}">
      <dsp:nvSpPr>
        <dsp:cNvPr id="0" name=""/>
        <dsp:cNvSpPr/>
      </dsp:nvSpPr>
      <dsp:spPr>
        <a:xfrm>
          <a:off x="2155023" y="1212056"/>
          <a:ext cx="921811" cy="16160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Market Policy/ Treaty</a:t>
          </a:r>
        </a:p>
      </dsp:txBody>
      <dsp:txXfrm>
        <a:off x="2200022" y="1257055"/>
        <a:ext cx="831813" cy="1526076"/>
      </dsp:txXfrm>
    </dsp:sp>
    <dsp:sp modelId="{2EA539DF-C130-472D-9E00-B45561132935}">
      <dsp:nvSpPr>
        <dsp:cNvPr id="0" name=""/>
        <dsp:cNvSpPr/>
      </dsp:nvSpPr>
      <dsp:spPr>
        <a:xfrm>
          <a:off x="3230470" y="1212056"/>
          <a:ext cx="921811" cy="16160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Write Risk</a:t>
          </a:r>
        </a:p>
      </dsp:txBody>
      <dsp:txXfrm>
        <a:off x="3275469" y="1257055"/>
        <a:ext cx="831813" cy="1526076"/>
      </dsp:txXfrm>
    </dsp:sp>
    <dsp:sp modelId="{8E560B7B-C1C6-4174-B929-8A0EC41215B3}">
      <dsp:nvSpPr>
        <dsp:cNvPr id="0" name=""/>
        <dsp:cNvSpPr/>
      </dsp:nvSpPr>
      <dsp:spPr>
        <a:xfrm>
          <a:off x="4305917" y="1212056"/>
          <a:ext cx="921811" cy="16160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Price Risk</a:t>
          </a:r>
        </a:p>
      </dsp:txBody>
      <dsp:txXfrm>
        <a:off x="4350916" y="1257055"/>
        <a:ext cx="831813" cy="1526076"/>
      </dsp:txXfrm>
    </dsp:sp>
    <dsp:sp modelId="{8430E4D2-4BE5-4033-A40B-7D01DC320A25}">
      <dsp:nvSpPr>
        <dsp:cNvPr id="0" name=""/>
        <dsp:cNvSpPr/>
      </dsp:nvSpPr>
      <dsp:spPr>
        <a:xfrm>
          <a:off x="5381364" y="1212056"/>
          <a:ext cx="921811" cy="16160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Perform Loss Control</a:t>
          </a:r>
        </a:p>
      </dsp:txBody>
      <dsp:txXfrm>
        <a:off x="5426363" y="1257055"/>
        <a:ext cx="831813" cy="1526076"/>
      </dsp:txXfrm>
    </dsp:sp>
    <dsp:sp modelId="{DA227052-28CD-48CA-B212-6CE9437E2590}">
      <dsp:nvSpPr>
        <dsp:cNvPr id="0" name=""/>
        <dsp:cNvSpPr/>
      </dsp:nvSpPr>
      <dsp:spPr>
        <a:xfrm>
          <a:off x="6456811" y="1212056"/>
          <a:ext cx="921811" cy="16160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Settle Claims</a:t>
          </a:r>
        </a:p>
      </dsp:txBody>
      <dsp:txXfrm>
        <a:off x="6501810" y="1257055"/>
        <a:ext cx="831813" cy="1526076"/>
      </dsp:txXfrm>
    </dsp:sp>
    <dsp:sp modelId="{6310D234-C0C6-44A1-98F4-7DB8A98AB0CC}">
      <dsp:nvSpPr>
        <dsp:cNvPr id="0" name=""/>
        <dsp:cNvSpPr/>
      </dsp:nvSpPr>
      <dsp:spPr>
        <a:xfrm>
          <a:off x="7532258" y="1212056"/>
          <a:ext cx="921811" cy="16160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Improve World </a:t>
          </a:r>
        </a:p>
      </dsp:txBody>
      <dsp:txXfrm>
        <a:off x="7577257" y="1257055"/>
        <a:ext cx="831813" cy="15260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5812</cdr:x>
      <cdr:y>0</cdr:y>
    </cdr:from>
    <cdr:to>
      <cdr:x>1</cdr:x>
      <cdr:y>0.1476</cdr:y>
    </cdr:to>
    <cdr:sp macro="" textlink="">
      <cdr:nvSpPr>
        <cdr:cNvPr id="2" name="Oval 1"/>
        <cdr:cNvSpPr/>
      </cdr:nvSpPr>
      <cdr:spPr>
        <a:xfrm xmlns:a="http://schemas.openxmlformats.org/drawingml/2006/main">
          <a:off x="652050" y="0"/>
          <a:ext cx="3471845" cy="513567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50800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ct val="90000"/>
            </a:lnSpc>
          </a:pPr>
          <a:endParaRPr lang="en-US" sz="2000" b="1" dirty="0" err="1">
            <a:solidFill>
              <a:schemeClr val="bg1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7168</cdr:x>
      <cdr:y>0.05686</cdr:y>
    </cdr:from>
    <cdr:to>
      <cdr:x>0.27625</cdr:x>
      <cdr:y>0.1250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87375" y="238125"/>
          <a:ext cx="1676400" cy="2857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4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0176</cdr:x>
      <cdr:y>0.02005</cdr:y>
    </cdr:from>
    <cdr:to>
      <cdr:x>0.27564</cdr:x>
      <cdr:y>0.12509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44218" y="83973"/>
          <a:ext cx="2114554" cy="4398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(Billions of USD)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050" smtClean="0"/>
              <a:t>10/18/2017</a:t>
            </a:fld>
            <a:endParaRPr lang="en-US" sz="105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050" smtClean="0"/>
              <a:t>‹#›</a:t>
            </a:fld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32004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0" y="8866597"/>
            <a:ext cx="6856413" cy="2758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685800" y="3609975"/>
            <a:ext cx="5486400" cy="51435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0000"/>
      </a:lnSpc>
      <a:spcBef>
        <a:spcPts val="1200"/>
      </a:spcBef>
      <a:buClr>
        <a:srgbClr val="337DBE"/>
      </a:buClr>
      <a:buSzPct val="77000"/>
      <a:buFont typeface="Wingdings 3" panose="05040102010807070707" pitchFamily="18" charset="2"/>
      <a:buChar char="y"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42900" indent="-142875" algn="l" defTabSz="914400" rtl="0" eaLnBrk="1" latinLnBrk="0" hangingPunct="1">
      <a:lnSpc>
        <a:spcPct val="90000"/>
      </a:lnSpc>
      <a:spcBef>
        <a:spcPts val="600"/>
      </a:spcBef>
      <a:buClr>
        <a:srgbClr val="337DBE"/>
      </a:buClr>
      <a:buFont typeface="Wingdings" panose="05000000000000000000" pitchFamily="2" charset="2"/>
      <a:buChar char="w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4350" indent="-119063" algn="l" defTabSz="914400" rtl="0" eaLnBrk="1" latinLnBrk="0" hangingPunct="1">
      <a:lnSpc>
        <a:spcPct val="90000"/>
      </a:lnSpc>
      <a:spcBef>
        <a:spcPts val="300"/>
      </a:spcBef>
      <a:buClr>
        <a:srgbClr val="337DBE"/>
      </a:buClr>
      <a:buFont typeface="Arial" pitchFamily="34" charset="0"/>
      <a:buChar char="–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5800" indent="-107950" algn="l" defTabSz="914400" rtl="0" eaLnBrk="1" latinLnBrk="0" hangingPunct="1">
      <a:lnSpc>
        <a:spcPct val="90000"/>
      </a:lnSpc>
      <a:spcBef>
        <a:spcPts val="200"/>
      </a:spcBef>
      <a:buClr>
        <a:srgbClr val="337DBE"/>
      </a:buClr>
      <a:buFont typeface="Wingdings" pitchFamily="2" charset="2"/>
      <a:buChar char="§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00100" indent="-95250" algn="l" defTabSz="914400" rtl="0" eaLnBrk="1" latinLnBrk="0" hangingPunct="1">
      <a:lnSpc>
        <a:spcPct val="90000"/>
      </a:lnSpc>
      <a:spcBef>
        <a:spcPts val="100"/>
      </a:spcBef>
      <a:buClr>
        <a:srgbClr val="337DBE"/>
      </a:buClr>
      <a:buSzPct val="100000"/>
      <a:buFont typeface="Arial" panose="020B0604020202020204" pitchFamily="34" charset="0"/>
      <a:buChar char="»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6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DFAE48C8-4C0E-4121-B49D-8A4ED1444B03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3909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581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730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EA3D68F1-0777-4B1E-A52C-51505E82C0DB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6014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3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320440F3-0FDA-4A6D-9AE4-0E63FCD1D244}" type="slidenum">
              <a:rPr lang="en-US" altLang="en-US" smtClean="0"/>
              <a:pPr/>
              <a:t>3</a:t>
            </a:fld>
            <a:endParaRPr lang="en-US" altLang="en-US"/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68409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ctr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urance Disruption </a:t>
            </a:r>
            <a:endParaRPr lang="en-US" sz="14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 fontAlgn="ctr"/>
            <a:r>
              <a:rPr lang="en-US" sz="11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chnology / Digitalization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2" fontAlgn="ctr"/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ndamental changes </a:t>
            </a:r>
            <a:endParaRPr lang="en-US" sz="105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ture of auto insurance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4" fontAlgn="ctr"/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onomous vehicles -- reduction of accidents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ture of reduced risk pools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4" fontAlgn="ctr"/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parate Impact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2" fontAlgn="ctr"/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portunities</a:t>
            </a:r>
            <a:endParaRPr lang="en-US" sz="105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omation and efficiencies -- claims, underwriting, filings (?)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w product lines -- cyber, sharing economy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erging technologies -- cognitive computing, predictive analytics 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2" fontAlgn="ctr"/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allenges</a:t>
            </a:r>
            <a:endParaRPr lang="en-US" sz="105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sumer trust will be key -- demonstrate the societal value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g data vs. personal/information privacy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2" fontAlgn="ctr"/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w market entrants -- "Uber of Insurance"  </a:t>
            </a:r>
            <a:endParaRPr lang="en-US" sz="105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monade: Approved in State of New York 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2" fontAlgn="ctr"/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gulatory -- Opportunity / Threat </a:t>
            </a:r>
            <a:endParaRPr lang="en-US" sz="105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rrier to entry (for potential disrupters) 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4" fontAlgn="ctr"/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 -- 50+ individual regulatory bodies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4" fontAlgn="ctr"/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xi vs. Insurance Regulator: One can put you in jail…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ull back / curb </a:t>
            </a:r>
            <a:endParaRPr lang="en-US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4" fontAlgn="ctr"/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sumer trust will play key role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4" fontAlgn="ctr"/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ndbox approach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3" fontAlgn="ctr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 vs. other global regions with less regulatory burden </a:t>
            </a:r>
            <a:endParaRPr lang="en-US" sz="14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 fontAlgn="ctr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TBD] Audience Relevance Section </a:t>
            </a:r>
            <a:endParaRPr lang="en-US" sz="14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9303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Rectangle 3"/>
          <p:cNvSpPr txBox="1">
            <a:spLocks noGrp="1" noChangeArrowheads="1"/>
          </p:cNvSpPr>
          <p:nvPr/>
        </p:nvSpPr>
        <p:spPr bwMode="auto">
          <a:xfrm>
            <a:off x="3154364" y="9047163"/>
            <a:ext cx="7048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956" tIns="46569" rIns="45956" bIns="46569" anchor="b">
            <a:spAutoFit/>
          </a:bodyPr>
          <a:lstStyle/>
          <a:p>
            <a:pPr algn="ctr" defTabSz="930275"/>
            <a:fld id="{5C1989CA-1A92-4DB6-A85A-D489C0504DE6}" type="slidenum">
              <a:rPr lang="en-US" sz="1000"/>
              <a:pPr algn="ctr" defTabSz="930275"/>
              <a:t>9</a:t>
            </a:fld>
            <a:endParaRPr lang="en-US" sz="1000"/>
          </a:p>
        </p:txBody>
      </p:sp>
      <p:sp>
        <p:nvSpPr>
          <p:cNvPr id="135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1351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dirty="0"/>
              <a:t>Gathering Big Data Affects</a:t>
            </a:r>
          </a:p>
          <a:p>
            <a:pPr lvl="1"/>
            <a:r>
              <a:rPr lang="en-US" dirty="0"/>
              <a:t>Underwriting</a:t>
            </a:r>
          </a:p>
          <a:p>
            <a:pPr lvl="1"/>
            <a:r>
              <a:rPr lang="en-US" dirty="0"/>
              <a:t>Pricing</a:t>
            </a:r>
          </a:p>
          <a:p>
            <a:r>
              <a:rPr lang="en-US" dirty="0"/>
              <a:t>Monitoring Could Affect</a:t>
            </a:r>
          </a:p>
          <a:p>
            <a:pPr lvl="1"/>
            <a:r>
              <a:rPr lang="en-US" dirty="0"/>
              <a:t>Loss Control</a:t>
            </a:r>
          </a:p>
          <a:p>
            <a:pPr lvl="1"/>
            <a:r>
              <a:rPr lang="en-US" dirty="0"/>
              <a:t>Pricing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185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98588" y="582613"/>
            <a:ext cx="4060825" cy="3044825"/>
          </a:xfrm>
          <a:ln/>
        </p:spPr>
      </p:sp>
      <p:sp>
        <p:nvSpPr>
          <p:cNvPr id="63491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63492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084513" y="8897938"/>
            <a:ext cx="692150" cy="244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2B6B82E3-76B4-48FE-93E9-6704F7EE8B30}" type="slidenum">
              <a:rPr lang="en-US" altLang="en-US" sz="1200">
                <a:solidFill>
                  <a:srgbClr val="000000"/>
                </a:solidFill>
              </a:rPr>
              <a:pPr/>
              <a:t>10</a:t>
            </a:fld>
            <a:endParaRPr lang="en-US" alt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9447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I Jim</a:t>
            </a:r>
          </a:p>
          <a:p>
            <a:pPr lvl="1"/>
            <a:r>
              <a:rPr lang="en-US" dirty="0"/>
              <a:t>IDs suspicious</a:t>
            </a:r>
            <a:r>
              <a:rPr lang="en-US" baseline="0" dirty="0"/>
              <a:t> activity</a:t>
            </a:r>
          </a:p>
          <a:p>
            <a:pPr lvl="1"/>
            <a:r>
              <a:rPr lang="en-US" baseline="0" dirty="0"/>
              <a:t>Marries Artificial Intelligence, Behavioral Economics (file via video)</a:t>
            </a:r>
          </a:p>
          <a:p>
            <a:pPr lvl="1"/>
            <a:r>
              <a:rPr lang="en-US" baseline="0" dirty="0"/>
              <a:t>Bot handles simplest clai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5361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55700" y="708025"/>
            <a:ext cx="4725988" cy="3544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ased on our most recent count we are </a:t>
            </a:r>
            <a:r>
              <a:rPr lang="en-US" b="1" dirty="0"/>
              <a:t>tracking over 500+ </a:t>
            </a:r>
            <a:r>
              <a:rPr lang="en-US" dirty="0"/>
              <a:t>InsurTech Companies.  Just a year ago that number was about half that.   We are tracking companies across </a:t>
            </a:r>
            <a:r>
              <a:rPr lang="en-US" b="1" dirty="0"/>
              <a:t>Risk and Health </a:t>
            </a:r>
            <a:r>
              <a:rPr lang="en-US" dirty="0"/>
              <a:t>in a variety of themes.  For us its more </a:t>
            </a:r>
            <a:r>
              <a:rPr lang="en-US" b="1" dirty="0"/>
              <a:t>about business concepts </a:t>
            </a:r>
            <a:r>
              <a:rPr lang="en-US" dirty="0"/>
              <a:t>than it is about individual companie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2023" eaLnBrk="0" fontAlgn="base" hangingPunct="0">
              <a:spcBef>
                <a:spcPct val="0"/>
              </a:spcBef>
              <a:spcAft>
                <a:spcPct val="0"/>
              </a:spcAft>
            </a:pPr>
            <a:fld id="{254F704F-957B-4CC0-A8AE-EE764F09C29A}" type="slidenum">
              <a:rPr lang="en-US" sz="800">
                <a:solidFill>
                  <a:prstClr val="black"/>
                </a:solidFill>
                <a:latin typeface="Arial" charset="0"/>
                <a:ea typeface="ＭＳ Ｐゴシック" pitchFamily="108" charset="-128"/>
              </a:rPr>
              <a:pPr defTabSz="942023" eaLnBrk="0" fontAlgn="base" hangingPunct="0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800" dirty="0">
              <a:solidFill>
                <a:prstClr val="black"/>
              </a:solidFill>
              <a:latin typeface="Arial" charset="0"/>
              <a:ea typeface="ＭＳ Ｐゴシック" pitchFamily="10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567889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55700" y="708025"/>
            <a:ext cx="4725988" cy="3544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me examples of insurance company investments in InsurTech….  As you can see it is across a variety of themes or business concepts…. </a:t>
            </a:r>
          </a:p>
          <a:p>
            <a:r>
              <a:rPr lang="en-US" b="1" dirty="0"/>
              <a:t>Metromile –   Telematics</a:t>
            </a:r>
          </a:p>
          <a:p>
            <a:r>
              <a:rPr lang="en-US" b="1" dirty="0"/>
              <a:t>CoverHound and Policy Genius-    Insurance Marketplaces</a:t>
            </a:r>
          </a:p>
          <a:p>
            <a:r>
              <a:rPr lang="en-US" b="1" baseline="0" dirty="0"/>
              <a:t>One Inc. –   Cloud Based IT Platform and</a:t>
            </a:r>
          </a:p>
          <a:p>
            <a:r>
              <a:rPr lang="en-US" b="1" baseline="0" dirty="0"/>
              <a:t>Slice -   Micro-Duration Coverage.</a:t>
            </a:r>
            <a:r>
              <a:rPr lang="en-US" baseline="0" dirty="0"/>
              <a:t>  </a:t>
            </a:r>
          </a:p>
          <a:p>
            <a:endParaRPr lang="en-US" baseline="0" dirty="0"/>
          </a:p>
          <a:p>
            <a:r>
              <a:rPr lang="en-US" baseline="0" dirty="0"/>
              <a:t>These investments create an opportunity to </a:t>
            </a:r>
            <a:r>
              <a:rPr lang="en-US" b="1" baseline="0" dirty="0"/>
              <a:t>accelerate growth, improve efficiency, enhance the customer experience and  “Speed to Market</a:t>
            </a:r>
            <a:r>
              <a:rPr lang="en-US" baseline="0" dirty="0"/>
              <a:t>” for new products in emerging risk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2023" eaLnBrk="0" fontAlgn="base" hangingPunct="0">
              <a:spcBef>
                <a:spcPct val="0"/>
              </a:spcBef>
              <a:spcAft>
                <a:spcPct val="0"/>
              </a:spcAft>
            </a:pPr>
            <a:fld id="{D1C7FB31-0C7B-4DF9-A9BC-6BD9C278B254}" type="slidenum">
              <a:rPr lang="en-US" sz="800">
                <a:solidFill>
                  <a:srgbClr val="313232"/>
                </a:solidFill>
                <a:latin typeface="Arial" charset="0"/>
                <a:ea typeface="ＭＳ Ｐゴシック" pitchFamily="108" charset="-128"/>
              </a:rPr>
              <a:pPr defTabSz="942023" eaLnBrk="0" fontAlgn="base" hangingPunct="0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US" sz="800" dirty="0">
              <a:solidFill>
                <a:srgbClr val="313232"/>
              </a:solidFill>
              <a:latin typeface="Arial" charset="0"/>
              <a:ea typeface="ＭＳ Ｐゴシック" pitchFamily="10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871351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l industries being impacte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</p:spTree>
    <p:extLst>
      <p:ext uri="{BB962C8B-B14F-4D97-AF65-F5344CB8AC3E}">
        <p14:creationId xmlns:p14="http://schemas.microsoft.com/office/powerpoint/2010/main" val="36906508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399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4081" y="3351344"/>
            <a:ext cx="7772400" cy="1380744"/>
          </a:xfrm>
        </p:spPr>
        <p:txBody>
          <a:bodyPr lIns="0" tIns="0" rIns="0" bIns="0"/>
          <a:lstStyle>
            <a:lvl1pPr algn="l">
              <a:defRPr sz="36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4081" y="4933256"/>
            <a:ext cx="777240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000">
                <a:solidFill>
                  <a:srgbClr val="072C4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 descr="III_logo-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081" y="2243432"/>
            <a:ext cx="2539653" cy="75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491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5491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7167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37"/>
          </p:nvPr>
        </p:nvSpPr>
        <p:spPr>
          <a:xfrm>
            <a:off x="371675" y="2381250"/>
            <a:ext cx="4152900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8"/>
          </p:nvPr>
        </p:nvSpPr>
        <p:spPr>
          <a:xfrm>
            <a:off x="4668837" y="2381249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9"/>
          </p:nvPr>
        </p:nvSpPr>
        <p:spPr>
          <a:xfrm>
            <a:off x="4668837" y="4712970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752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491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5491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7167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71676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5"/>
          </p:nvPr>
        </p:nvSpPr>
        <p:spPr>
          <a:xfrm>
            <a:off x="376438" y="2377439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6"/>
          </p:nvPr>
        </p:nvSpPr>
        <p:spPr>
          <a:xfrm>
            <a:off x="376438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37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88497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491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5491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7167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71676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/>
          </p:nvPr>
        </p:nvSpPr>
        <p:spPr>
          <a:xfrm>
            <a:off x="376438" y="237744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38"/>
          </p:nvPr>
        </p:nvSpPr>
        <p:spPr>
          <a:xfrm>
            <a:off x="4668837" y="2378075"/>
            <a:ext cx="4151376" cy="141605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39"/>
          </p:nvPr>
        </p:nvSpPr>
        <p:spPr>
          <a:xfrm>
            <a:off x="376438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40"/>
          </p:nvPr>
        </p:nvSpPr>
        <p:spPr>
          <a:xfrm>
            <a:off x="4668838" y="4708525"/>
            <a:ext cx="4152900" cy="14176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15930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2/01/09 - 9pm</a:t>
            </a:r>
          </a:p>
        </p:txBody>
      </p:sp>
      <p:sp>
        <p:nvSpPr>
          <p:cNvPr id="4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5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581549-0EE9-4414-804C-D922FB08B54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1830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2/01/09 - 9pm</a:t>
            </a:r>
          </a:p>
        </p:txBody>
      </p:sp>
      <p:sp>
        <p:nvSpPr>
          <p:cNvPr id="3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4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649112-2361-4913-9798-B6AEBB59A8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7903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613208" y="3501416"/>
            <a:ext cx="7796213" cy="1038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613978" y="2057065"/>
            <a:ext cx="7886700" cy="1325563"/>
          </a:xfrm>
          <a:prstGeom prst="rect">
            <a:avLst/>
          </a:prstGeom>
        </p:spPr>
        <p:txBody>
          <a:bodyPr anchor="b"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080" y="2404648"/>
            <a:ext cx="344424" cy="344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5134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8739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>
            <a:off x="0" y="0"/>
            <a:ext cx="9144229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704080" y="1960694"/>
            <a:ext cx="7772400" cy="1380744"/>
          </a:xfrm>
        </p:spPr>
        <p:txBody>
          <a:bodyPr lIns="0" tIns="0" rIns="0" bIns="0" anchor="b" anchorCtr="0"/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4080" y="3542606"/>
            <a:ext cx="694944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48277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704080" y="1960694"/>
            <a:ext cx="7772400" cy="1380744"/>
          </a:xfrm>
        </p:spPr>
        <p:txBody>
          <a:bodyPr lIns="0" tIns="0" rIns="0" bIns="0" anchor="b" anchorCtr="0"/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4080" y="3542606"/>
            <a:ext cx="694944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Right Triangle 4"/>
          <p:cNvSpPr/>
          <p:nvPr userDrawn="1"/>
        </p:nvSpPr>
        <p:spPr>
          <a:xfrm flipH="1">
            <a:off x="4492800" y="2224800"/>
            <a:ext cx="4651200" cy="46332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080" y="2404648"/>
            <a:ext cx="344424" cy="344424"/>
          </a:xfrm>
          <a:prstGeom prst="rect">
            <a:avLst/>
          </a:prstGeom>
        </p:spPr>
      </p:pic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0" y="0"/>
            <a:ext cx="768096" cy="768096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313141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491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5491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491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5491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01696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491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5491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5491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1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5491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951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5386659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1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951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81301" y="1657349"/>
            <a:ext cx="8467724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1"/>
          </p:nvPr>
        </p:nvSpPr>
        <p:spPr>
          <a:xfrm>
            <a:off x="381300" y="2377440"/>
            <a:ext cx="8467725" cy="37465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19365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491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5491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79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7167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77715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376438" y="2377440"/>
            <a:ext cx="4148137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4"/>
          </p:nvPr>
        </p:nvSpPr>
        <p:spPr>
          <a:xfrm>
            <a:off x="4678462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93767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/>
          <p:cNvSpPr>
            <a:spLocks noChangeAspect="1"/>
          </p:cNvSpPr>
          <p:nvPr userDrawn="1"/>
        </p:nvSpPr>
        <p:spPr>
          <a:xfrm rot="5400000">
            <a:off x="-9144" y="0"/>
            <a:ext cx="731520" cy="731520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5491" y="231310"/>
            <a:ext cx="8458200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85491" y="1883664"/>
            <a:ext cx="8458200" cy="40416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485942" y="6403975"/>
            <a:ext cx="3302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67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85" r:id="rId3"/>
    <p:sldLayoutId id="2147483654" r:id="rId4"/>
    <p:sldLayoutId id="2147483664" r:id="rId5"/>
    <p:sldLayoutId id="2147483650" r:id="rId6"/>
    <p:sldLayoutId id="2147483665" r:id="rId7"/>
    <p:sldLayoutId id="2147483655" r:id="rId8"/>
    <p:sldLayoutId id="2147483656" r:id="rId9"/>
    <p:sldLayoutId id="2147483658" r:id="rId10"/>
    <p:sldLayoutId id="2147483659" r:id="rId11"/>
    <p:sldLayoutId id="2147483657" r:id="rId12"/>
    <p:sldLayoutId id="2147483686" r:id="rId13"/>
    <p:sldLayoutId id="2147483687" r:id="rId14"/>
  </p:sldLayoutIdLst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3000" b="0" kern="1200">
          <a:solidFill>
            <a:srgbClr val="337DBE"/>
          </a:solidFill>
          <a:latin typeface="+mj-lt"/>
          <a:ea typeface="+mj-ea"/>
          <a:cs typeface="+mj-cs"/>
        </a:defRPr>
      </a:lvl1pPr>
    </p:titleStyle>
    <p:bodyStyle>
      <a:lvl1pPr marL="292608" indent="-292608" algn="l" defTabSz="914400" rtl="0" eaLnBrk="1" latinLnBrk="0" hangingPunct="1">
        <a:lnSpc>
          <a:spcPct val="90000"/>
        </a:lnSpc>
        <a:spcBef>
          <a:spcPts val="2000"/>
        </a:spcBef>
        <a:buClr>
          <a:srgbClr val="337DBE"/>
        </a:buClr>
        <a:buSzPct val="77000"/>
        <a:buFont typeface="Wingdings 3" panose="05040102010807070707" pitchFamily="18" charset="2"/>
        <a:buChar char="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6928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37DBE"/>
        </a:buClr>
        <a:buFont typeface="Wingdings" panose="05000000000000000000" pitchFamily="2" charset="2"/>
        <a:buChar char="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37DBE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728" indent="-219456" algn="l" defTabSz="914400" rtl="0" eaLnBrk="1" latinLnBrk="0" hangingPunct="1">
        <a:lnSpc>
          <a:spcPct val="90000"/>
        </a:lnSpc>
        <a:spcBef>
          <a:spcPts val="200"/>
        </a:spcBef>
        <a:buClr>
          <a:srgbClr val="337DBE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81328" indent="-173736" algn="l" defTabSz="914400" rtl="0" eaLnBrk="1" latinLnBrk="0" hangingPunct="1">
        <a:lnSpc>
          <a:spcPct val="90000"/>
        </a:lnSpc>
        <a:spcBef>
          <a:spcPts val="100"/>
        </a:spcBef>
        <a:buClr>
          <a:srgbClr val="337DBE"/>
        </a:buClr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/>
          <p:cNvSpPr/>
          <p:nvPr userDrawn="1"/>
        </p:nvSpPr>
        <p:spPr>
          <a:xfrm flipH="1">
            <a:off x="4492800" y="2224800"/>
            <a:ext cx="4651200" cy="4633200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4823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5167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png"/><Relationship Id="rId18" Type="http://schemas.openxmlformats.org/officeDocument/2006/relationships/image" Target="../media/image29.jpeg"/><Relationship Id="rId26" Type="http://schemas.openxmlformats.org/officeDocument/2006/relationships/image" Target="../media/image37.png"/><Relationship Id="rId3" Type="http://schemas.openxmlformats.org/officeDocument/2006/relationships/slideLayout" Target="../slideLayouts/slideLayout9.xml"/><Relationship Id="rId21" Type="http://schemas.openxmlformats.org/officeDocument/2006/relationships/image" Target="../media/image32.png"/><Relationship Id="rId34" Type="http://schemas.openxmlformats.org/officeDocument/2006/relationships/image" Target="../media/image45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5" Type="http://schemas.openxmlformats.org/officeDocument/2006/relationships/image" Target="../media/image36.png"/><Relationship Id="rId33" Type="http://schemas.openxmlformats.org/officeDocument/2006/relationships/image" Target="../media/image44.png"/><Relationship Id="rId2" Type="http://schemas.openxmlformats.org/officeDocument/2006/relationships/tags" Target="../tags/tag3.xml"/><Relationship Id="rId16" Type="http://schemas.openxmlformats.org/officeDocument/2006/relationships/image" Target="../media/image27.jpeg"/><Relationship Id="rId20" Type="http://schemas.openxmlformats.org/officeDocument/2006/relationships/image" Target="../media/image31.png"/><Relationship Id="rId29" Type="http://schemas.openxmlformats.org/officeDocument/2006/relationships/image" Target="../media/image40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emf"/><Relationship Id="rId11" Type="http://schemas.openxmlformats.org/officeDocument/2006/relationships/image" Target="../media/image22.png"/><Relationship Id="rId24" Type="http://schemas.openxmlformats.org/officeDocument/2006/relationships/image" Target="../media/image35.png"/><Relationship Id="rId32" Type="http://schemas.openxmlformats.org/officeDocument/2006/relationships/image" Target="../media/image43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26.png"/><Relationship Id="rId23" Type="http://schemas.openxmlformats.org/officeDocument/2006/relationships/image" Target="../media/image34.png"/><Relationship Id="rId28" Type="http://schemas.openxmlformats.org/officeDocument/2006/relationships/image" Target="../media/image39.jpeg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31" Type="http://schemas.openxmlformats.org/officeDocument/2006/relationships/image" Target="../media/image42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0.png"/><Relationship Id="rId14" Type="http://schemas.openxmlformats.org/officeDocument/2006/relationships/image" Target="../media/image25.jpeg"/><Relationship Id="rId22" Type="http://schemas.openxmlformats.org/officeDocument/2006/relationships/image" Target="../media/image33.png"/><Relationship Id="rId27" Type="http://schemas.openxmlformats.org/officeDocument/2006/relationships/image" Target="../media/image38.png"/><Relationship Id="rId30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jpg"/><Relationship Id="rId18" Type="http://schemas.openxmlformats.org/officeDocument/2006/relationships/image" Target="../media/image57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8.png"/><Relationship Id="rId12" Type="http://schemas.openxmlformats.org/officeDocument/2006/relationships/image" Target="../media/image51.gif"/><Relationship Id="rId17" Type="http://schemas.openxmlformats.org/officeDocument/2006/relationships/image" Target="../media/image56.png"/><Relationship Id="rId2" Type="http://schemas.openxmlformats.org/officeDocument/2006/relationships/tags" Target="../tags/tag4.xml"/><Relationship Id="rId16" Type="http://schemas.openxmlformats.org/officeDocument/2006/relationships/image" Target="../media/image55.jpg"/><Relationship Id="rId20" Type="http://schemas.openxmlformats.org/officeDocument/2006/relationships/image" Target="../media/image59.jpg"/><Relationship Id="rId1" Type="http://schemas.openxmlformats.org/officeDocument/2006/relationships/vmlDrawing" Target="../drawings/vmlDrawing2.vml"/><Relationship Id="rId6" Type="http://schemas.openxmlformats.org/officeDocument/2006/relationships/image" Target="../media/image46.emf"/><Relationship Id="rId11" Type="http://schemas.openxmlformats.org/officeDocument/2006/relationships/image" Target="../media/image50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54.png"/><Relationship Id="rId10" Type="http://schemas.openxmlformats.org/officeDocument/2006/relationships/image" Target="../media/image49.png"/><Relationship Id="rId19" Type="http://schemas.openxmlformats.org/officeDocument/2006/relationships/image" Target="../media/image58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8.png"/><Relationship Id="rId14" Type="http://schemas.openxmlformats.org/officeDocument/2006/relationships/image" Target="../media/image53.jp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62.jpeg"/><Relationship Id="rId5" Type="http://schemas.openxmlformats.org/officeDocument/2006/relationships/image" Target="../media/image61.png"/><Relationship Id="rId10" Type="http://schemas.openxmlformats.org/officeDocument/2006/relationships/image" Target="../media/image66.jpeg"/><Relationship Id="rId4" Type="http://schemas.openxmlformats.org/officeDocument/2006/relationships/image" Target="../media/image60.png"/><Relationship Id="rId9" Type="http://schemas.openxmlformats.org/officeDocument/2006/relationships/image" Target="../media/image65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hyperlink" Target="http://www.iii.org/presentations" TargetMode="External"/><Relationship Id="rId4" Type="http://schemas.openxmlformats.org/officeDocument/2006/relationships/hyperlink" Target="http://www.iii.org/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.jp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sruption and Insurance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hallenges and Opportunities </a:t>
            </a:r>
            <a:br>
              <a:rPr lang="en-US" dirty="0"/>
            </a:br>
            <a:r>
              <a:rPr lang="en-US" dirty="0"/>
              <a:t>All Along the Value Chain</a:t>
            </a:r>
          </a:p>
        </p:txBody>
      </p:sp>
    </p:spTree>
    <p:extLst>
      <p:ext uri="{BB962C8B-B14F-4D97-AF65-F5344CB8AC3E}">
        <p14:creationId xmlns:p14="http://schemas.microsoft.com/office/powerpoint/2010/main" val="2414175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>
                <a:latin typeface="Arial" panose="020B0604020202020204" pitchFamily="34" charset="0"/>
                <a:ea typeface="ＭＳ Ｐゴシック" panose="020B0600070205080204" pitchFamily="34" charset="-128"/>
              </a:rPr>
              <a:t>Peer-to-Peer (P2P) Insuran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aking on the </a:t>
            </a:r>
            <a:r>
              <a:rPr lang="en-US" i="1" u="sng" dirty="0"/>
              <a:t>Entire</a:t>
            </a:r>
            <a:r>
              <a:rPr lang="en-US" dirty="0"/>
              <a:t> Value Chai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US" dirty="0"/>
              <a:t>CEO Daniel Schreib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A Typical P2P Mod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7"/>
          </p:nvPr>
        </p:nvSpPr>
        <p:spPr/>
        <p:txBody>
          <a:bodyPr/>
          <a:lstStyle/>
          <a:p>
            <a:r>
              <a:rPr lang="en-US" dirty="0"/>
              <a:t>Resembles </a:t>
            </a:r>
            <a:r>
              <a:rPr lang="en-US" dirty="0" err="1"/>
              <a:t>Mutuals</a:t>
            </a:r>
            <a:r>
              <a:rPr lang="en-US" dirty="0"/>
              <a:t>/Reciprocals</a:t>
            </a:r>
          </a:p>
          <a:p>
            <a:r>
              <a:rPr lang="en-US" dirty="0"/>
              <a:t>People Join Small Group of Friends to Prefund Deductible or Bear Other Small Risk.</a:t>
            </a:r>
          </a:p>
          <a:p>
            <a:r>
              <a:rPr lang="en-US" dirty="0"/>
              <a:t>Leftover Deductible $$ Rolled Forward.</a:t>
            </a:r>
          </a:p>
          <a:p>
            <a:r>
              <a:rPr lang="en-US" dirty="0"/>
              <a:t>May Deter Fraud – You Wouldn’t Cheat Your Friends!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39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Our Chief Behavioral Officer, Professor Dan </a:t>
            </a:r>
            <a:r>
              <a:rPr lang="en-US" dirty="0" err="1">
                <a:ea typeface="Calibri" panose="020F0502020204030204" pitchFamily="34" charset="0"/>
              </a:rPr>
              <a:t>Ariely</a:t>
            </a:r>
            <a:r>
              <a:rPr lang="en-US" dirty="0">
                <a:ea typeface="Calibri" panose="020F0502020204030204" pitchFamily="34" charset="0"/>
              </a:rPr>
              <a:t>, says that “If you tried to create a system to bring out the worst in humans, it would look a lot like the insurance of today.”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7821" y="1663710"/>
            <a:ext cx="4048189" cy="2159034"/>
          </a:xfrm>
          <a:prstGeom prst="rect">
            <a:avLst/>
          </a:prstGeom>
          <a:ln>
            <a:solidFill>
              <a:srgbClr val="2B7299"/>
            </a:solidFill>
          </a:ln>
        </p:spPr>
      </p:pic>
      <p:sp>
        <p:nvSpPr>
          <p:cNvPr id="18" name="Rectangle 3"/>
          <p:cNvSpPr>
            <a:spLocks noChangeArrowheads="1"/>
          </p:cNvSpPr>
          <p:nvPr/>
        </p:nvSpPr>
        <p:spPr bwMode="auto">
          <a:xfrm>
            <a:off x="352425" y="5535930"/>
            <a:ext cx="4049524" cy="5078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1" hangingPunct="1">
              <a:defRPr/>
            </a:pPr>
            <a:r>
              <a:rPr lang="en-US" sz="900" dirty="0">
                <a:solidFill>
                  <a:srgbClr val="000000">
                    <a:lumMod val="75000"/>
                  </a:srgbClr>
                </a:solidFill>
              </a:rPr>
              <a:t>Source: “</a:t>
            </a:r>
            <a:r>
              <a:rPr lang="en-US" sz="900" dirty="0" err="1">
                <a:solidFill>
                  <a:srgbClr val="000000">
                    <a:lumMod val="75000"/>
                  </a:srgbClr>
                </a:solidFill>
              </a:rPr>
              <a:t>UberX-ing</a:t>
            </a:r>
            <a:r>
              <a:rPr lang="en-US" sz="900" dirty="0">
                <a:solidFill>
                  <a:srgbClr val="000000">
                    <a:lumMod val="75000"/>
                  </a:srgbClr>
                </a:solidFill>
              </a:rPr>
              <a:t> Insurance : Is Peer-to-Peer Insurance Viable?”, presentation by Jay </a:t>
            </a:r>
            <a:r>
              <a:rPr lang="en-US" sz="900" dirty="0" err="1">
                <a:solidFill>
                  <a:srgbClr val="000000">
                    <a:lumMod val="75000"/>
                  </a:srgbClr>
                </a:solidFill>
              </a:rPr>
              <a:t>Sarzen</a:t>
            </a:r>
            <a:r>
              <a:rPr lang="en-US" sz="900" dirty="0">
                <a:solidFill>
                  <a:srgbClr val="000000">
                    <a:lumMod val="75000"/>
                  </a:srgbClr>
                </a:solidFill>
              </a:rPr>
              <a:t>, </a:t>
            </a:r>
            <a:r>
              <a:rPr lang="en-US" sz="900" dirty="0" err="1">
                <a:solidFill>
                  <a:srgbClr val="000000">
                    <a:lumMod val="75000"/>
                  </a:srgbClr>
                </a:solidFill>
              </a:rPr>
              <a:t>Aite</a:t>
            </a:r>
            <a:r>
              <a:rPr lang="en-US" sz="900" dirty="0">
                <a:solidFill>
                  <a:srgbClr val="000000">
                    <a:lumMod val="75000"/>
                  </a:srgbClr>
                </a:solidFill>
              </a:rPr>
              <a:t> Group at Drinker Biddle Insurance Conference, June 21, 2016.</a:t>
            </a:r>
            <a:endParaRPr lang="en-US" sz="900" i="1" dirty="0">
              <a:solidFill>
                <a:srgbClr val="000000">
                  <a:lumMod val="75000"/>
                </a:srgbClr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6579086" y="426215"/>
            <a:ext cx="2189548" cy="2146910"/>
            <a:chOff x="7466450" y="1271945"/>
            <a:chExt cx="1388701" cy="2146910"/>
          </a:xfrm>
        </p:grpSpPr>
        <p:cxnSp>
          <p:nvCxnSpPr>
            <p:cNvPr id="20" name="Straight Arrow Connector 19"/>
            <p:cNvCxnSpPr/>
            <p:nvPr/>
          </p:nvCxnSpPr>
          <p:spPr bwMode="gray">
            <a:xfrm>
              <a:off x="8392054" y="1652225"/>
              <a:ext cx="0" cy="1766630"/>
            </a:xfrm>
            <a:prstGeom prst="straightConnector1">
              <a:avLst/>
            </a:prstGeom>
            <a:ln w="28575">
              <a:solidFill>
                <a:schemeClr val="accent2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PPTShape_1"/>
            <p:cNvSpPr>
              <a:spLocks noChangeArrowheads="1"/>
            </p:cNvSpPr>
            <p:nvPr/>
          </p:nvSpPr>
          <p:spPr bwMode="gray">
            <a:xfrm>
              <a:off x="7466450" y="1271945"/>
              <a:ext cx="1388701" cy="499356"/>
            </a:xfrm>
            <a:prstGeom prst="rect">
              <a:avLst/>
            </a:prstGeom>
            <a:solidFill>
              <a:schemeClr val="accent2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Lemonade’s Model: </a:t>
              </a:r>
              <a:r>
                <a:rPr lang="en-US" sz="1200" b="1" i="1" u="sng" dirty="0">
                  <a:solidFill>
                    <a:schemeClr val="bg1"/>
                  </a:solidFill>
                  <a:cs typeface="Arial" charset="0"/>
                </a:rPr>
                <a:t>Unknown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5651622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8350" y="4045313"/>
            <a:ext cx="2805988" cy="24379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ims Disrupto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rtificial Intelligence + Behavioral Economic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2425" y="1585667"/>
            <a:ext cx="1647825" cy="5334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6337" y="2105689"/>
            <a:ext cx="2498650" cy="470334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74987" y="1418403"/>
            <a:ext cx="4979351" cy="2719873"/>
          </a:xfrm>
          <a:prstGeom prst="rect">
            <a:avLst/>
          </a:prstGeom>
          <a:scene3d>
            <a:camera prst="orthographicFront">
              <a:rot lat="1200000" lon="0" rev="1200000"/>
            </a:camera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42732921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/>
          <p:cNvSpPr/>
          <p:nvPr/>
        </p:nvSpPr>
        <p:spPr bwMode="auto">
          <a:xfrm>
            <a:off x="4546824" y="1176981"/>
            <a:ext cx="4225229" cy="505333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71" name="Rectangle 70"/>
          <p:cNvSpPr/>
          <p:nvPr/>
        </p:nvSpPr>
        <p:spPr bwMode="auto">
          <a:xfrm>
            <a:off x="381458" y="1176981"/>
            <a:ext cx="4199151" cy="505334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5" y="1594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5" y="1594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auto">
          <a:xfrm>
            <a:off x="518986" y="3619225"/>
            <a:ext cx="4014012" cy="986987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rTech Startups Have Broad Range</a:t>
            </a:r>
            <a:r>
              <a:rPr lang="mr-IN" dirty="0"/>
              <a:t>…</a:t>
            </a:r>
            <a:r>
              <a:rPr lang="en-US" dirty="0"/>
              <a:t>BUT</a:t>
            </a:r>
            <a:r>
              <a:rPr lang="mr-IN" dirty="0"/>
              <a:t>…</a:t>
            </a:r>
            <a:r>
              <a:rPr lang="en-US" dirty="0"/>
              <a:t> 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Aon.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518985" y="1620354"/>
            <a:ext cx="8138984" cy="968017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18986" y="4685570"/>
            <a:ext cx="4014012" cy="70250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518986" y="2680617"/>
            <a:ext cx="8138983" cy="853947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518986" y="5478799"/>
            <a:ext cx="4014012" cy="641807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4615969" y="3673469"/>
            <a:ext cx="4048351" cy="244713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11102"/>
          <a:stretch/>
        </p:blipFill>
        <p:spPr>
          <a:xfrm>
            <a:off x="583738" y="1822257"/>
            <a:ext cx="1085951" cy="39624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8107" y="1935044"/>
            <a:ext cx="1337040" cy="28345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1990" y="2011719"/>
            <a:ext cx="1357013" cy="213051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14224" y="2272439"/>
            <a:ext cx="1179664" cy="267028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06960" y="2213159"/>
            <a:ext cx="1461131" cy="327348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905" b="35146"/>
          <a:stretch/>
        </p:blipFill>
        <p:spPr>
          <a:xfrm>
            <a:off x="2981122" y="1890729"/>
            <a:ext cx="1053353" cy="347072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27281" y="3173564"/>
            <a:ext cx="1255635" cy="213181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1662" y="3212846"/>
            <a:ext cx="1232895" cy="173900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05641" y="3017627"/>
            <a:ext cx="1176768" cy="430447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3606" y="3146864"/>
            <a:ext cx="1135329" cy="263613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678" y="3974021"/>
            <a:ext cx="1338463" cy="252635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56588" y="4317533"/>
            <a:ext cx="827147" cy="224656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6631" y="3975440"/>
            <a:ext cx="1034967" cy="249797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30408" y="4302729"/>
            <a:ext cx="1253707" cy="206803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8994" y="5044844"/>
            <a:ext cx="573957" cy="258211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310" y="5846073"/>
            <a:ext cx="1045116" cy="154608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4685" y="5055228"/>
            <a:ext cx="573259" cy="237443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2067" y="5809618"/>
            <a:ext cx="1142927" cy="22752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3885" y="5779134"/>
            <a:ext cx="1139520" cy="288487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2451" y="4164708"/>
            <a:ext cx="1090516" cy="270417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725" t="21282" r="8844" b="22682"/>
          <a:stretch/>
        </p:blipFill>
        <p:spPr>
          <a:xfrm>
            <a:off x="4781907" y="4215163"/>
            <a:ext cx="760453" cy="172316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3059" y="4147946"/>
            <a:ext cx="1065944" cy="270039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0317" y="4817535"/>
            <a:ext cx="954113" cy="354139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2721" y="4854333"/>
            <a:ext cx="1137344" cy="280545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9023" y="4908249"/>
            <a:ext cx="798784" cy="172711"/>
          </a:xfrm>
          <a:prstGeom prst="rect">
            <a:avLst/>
          </a:prstGeom>
        </p:spPr>
      </p:pic>
      <p:pic>
        <p:nvPicPr>
          <p:cNvPr id="200704" name="Picture 200703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7923" y="5566544"/>
            <a:ext cx="997491" cy="294259"/>
          </a:xfrm>
          <a:prstGeom prst="rect">
            <a:avLst/>
          </a:prstGeom>
        </p:spPr>
      </p:pic>
      <p:pic>
        <p:nvPicPr>
          <p:cNvPr id="200705" name="Picture 200704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6297" y="5546002"/>
            <a:ext cx="1395235" cy="279047"/>
          </a:xfrm>
          <a:prstGeom prst="rect">
            <a:avLst/>
          </a:prstGeom>
        </p:spPr>
      </p:pic>
      <p:sp>
        <p:nvSpPr>
          <p:cNvPr id="72" name="Rectangle 71"/>
          <p:cNvSpPr/>
          <p:nvPr/>
        </p:nvSpPr>
        <p:spPr bwMode="auto">
          <a:xfrm>
            <a:off x="371677" y="1245196"/>
            <a:ext cx="4221571" cy="2825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defTabSz="6857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Risk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34475" y="2262314"/>
            <a:ext cx="1075051" cy="229039"/>
          </a:xfrm>
          <a:prstGeom prst="rect">
            <a:avLst/>
          </a:prstGeom>
        </p:spPr>
      </p:pic>
      <p:sp>
        <p:nvSpPr>
          <p:cNvPr id="73" name="Rectangle 72"/>
          <p:cNvSpPr/>
          <p:nvPr/>
        </p:nvSpPr>
        <p:spPr bwMode="auto">
          <a:xfrm>
            <a:off x="4580608" y="1245196"/>
            <a:ext cx="4221571" cy="2825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defTabSz="6857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Health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518984" y="1620425"/>
            <a:ext cx="8138984" cy="2817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148422" y="1606414"/>
            <a:ext cx="2856668" cy="2825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t" anchorCtr="0" compatLnSpc="1">
            <a:prstTxWarp prst="textNoShape">
              <a:avLst/>
            </a:prstTxWarp>
          </a:bodyPr>
          <a:lstStyle/>
          <a:p>
            <a:pPr algn="ctr" defTabSz="6857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Insurance Marketplace 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518984" y="2684253"/>
            <a:ext cx="8138984" cy="2817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518984" y="3621163"/>
            <a:ext cx="4014013" cy="2817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64" name="Rectangle 63"/>
          <p:cNvSpPr/>
          <p:nvPr/>
        </p:nvSpPr>
        <p:spPr bwMode="auto">
          <a:xfrm>
            <a:off x="518984" y="4687893"/>
            <a:ext cx="4014013" cy="2817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65" name="Rectangle 64"/>
          <p:cNvSpPr/>
          <p:nvPr/>
        </p:nvSpPr>
        <p:spPr bwMode="auto">
          <a:xfrm>
            <a:off x="518984" y="5478800"/>
            <a:ext cx="4014013" cy="2817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4615967" y="3621008"/>
            <a:ext cx="4044507" cy="2817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5754428" y="3620333"/>
            <a:ext cx="1873931" cy="30290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t" anchorCtr="0" compatLnSpc="1">
            <a:prstTxWarp prst="textNoShape">
              <a:avLst/>
            </a:prstTxWarp>
          </a:bodyPr>
          <a:lstStyle/>
          <a:p>
            <a:pPr algn="ctr" defTabSz="6857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Health Navigators</a:t>
            </a:r>
            <a:endParaRPr lang="en-US" sz="1400" b="1" baseline="30000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1688373" y="3617953"/>
            <a:ext cx="1588180" cy="248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t" anchorCtr="0" compatLnSpc="1">
            <a:prstTxWarp prst="textNoShape">
              <a:avLst/>
            </a:prstTxWarp>
          </a:bodyPr>
          <a:lstStyle/>
          <a:p>
            <a:pPr algn="ctr" defTabSz="6857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Peer to Peer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1204031" y="4686007"/>
            <a:ext cx="2504692" cy="26229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t" anchorCtr="0" compatLnSpc="1">
            <a:prstTxWarp prst="textNoShape">
              <a:avLst/>
            </a:prstTxWarp>
          </a:bodyPr>
          <a:lstStyle/>
          <a:p>
            <a:pPr algn="ctr" defTabSz="6857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Micro-duration Coverage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1739555" y="5511415"/>
            <a:ext cx="1588180" cy="19145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ctr" anchorCtr="0" compatLnSpc="1">
            <a:prstTxWarp prst="textNoShape">
              <a:avLst/>
            </a:prstTxWarp>
          </a:bodyPr>
          <a:lstStyle/>
          <a:p>
            <a:pPr algn="ctr" defTabSz="6857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Telematics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3150487" y="2684391"/>
            <a:ext cx="2856668" cy="26221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2" rIns="68580" bIns="34292" numCol="1" rtlCol="0" anchor="t" anchorCtr="0" compatLnSpc="1">
            <a:prstTxWarp prst="textNoShape">
              <a:avLst/>
            </a:prstTxWarp>
          </a:bodyPr>
          <a:lstStyle/>
          <a:p>
            <a:pPr algn="ctr" defTabSz="6857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Digital Brokers</a:t>
            </a:r>
          </a:p>
        </p:txBody>
      </p:sp>
    </p:spTree>
    <p:extLst>
      <p:ext uri="{BB962C8B-B14F-4D97-AF65-F5344CB8AC3E}">
        <p14:creationId xmlns:p14="http://schemas.microsoft.com/office/powerpoint/2010/main" val="17988761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5" y="1594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5" y="1594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utoShape 9" descr="Image result for mattermark"/>
          <p:cNvSpPr>
            <a:spLocks noChangeAspect="1" noChangeArrowheads="1"/>
          </p:cNvSpPr>
          <p:nvPr/>
        </p:nvSpPr>
        <p:spPr bwMode="auto">
          <a:xfrm>
            <a:off x="1259685" y="-144458"/>
            <a:ext cx="228601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2" rIns="68580" bIns="34292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0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9" name="AutoShape 14" descr="Image result for angellist"/>
          <p:cNvSpPr>
            <a:spLocks noChangeAspect="1" noChangeArrowheads="1"/>
          </p:cNvSpPr>
          <p:nvPr/>
        </p:nvSpPr>
        <p:spPr bwMode="auto">
          <a:xfrm>
            <a:off x="1373984" y="7949"/>
            <a:ext cx="228601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2" rIns="68580" bIns="34292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0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4" name="AutoShape 24" descr="Image result for Startupbootcamp Insurtech"/>
          <p:cNvSpPr>
            <a:spLocks noChangeAspect="1" noChangeArrowheads="1"/>
          </p:cNvSpPr>
          <p:nvPr/>
        </p:nvSpPr>
        <p:spPr bwMode="auto">
          <a:xfrm>
            <a:off x="1488285" y="160349"/>
            <a:ext cx="228601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2" rIns="68580" bIns="34292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0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7188930" y="1684602"/>
            <a:ext cx="14029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$205M</a:t>
            </a:r>
            <a:endParaRPr lang="en-SG" sz="2800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7204688" y="2678305"/>
            <a:ext cx="12839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$57M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7204869" y="3611714"/>
            <a:ext cx="12838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$37M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7188930" y="4492241"/>
            <a:ext cx="12997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$21M</a:t>
            </a:r>
            <a:endParaRPr lang="en-SG" sz="2800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7182989" y="5419413"/>
            <a:ext cx="13056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rPr>
              <a:t>$4M</a:t>
            </a:r>
            <a:endParaRPr lang="en-SG" sz="2800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mr-IN" dirty="0"/>
              <a:t>…</a:t>
            </a:r>
            <a:r>
              <a:rPr lang="en-US" dirty="0"/>
              <a:t>With Broad Incumbent Support </a:t>
            </a:r>
            <a:endParaRPr lang="en-SG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SG" dirty="0">
                <a:solidFill>
                  <a:srgbClr val="000000"/>
                </a:solidFill>
                <a:ea typeface="ＭＳ Ｐゴシック"/>
              </a:rPr>
              <a:t>Note: Total funding.</a:t>
            </a:r>
            <a:r>
              <a:rPr lang="en-US" dirty="0"/>
              <a:t> </a:t>
            </a:r>
          </a:p>
          <a:p>
            <a:r>
              <a:rPr lang="en-US" dirty="0"/>
              <a:t>Source: Aon.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60" t="11274" b="20445"/>
          <a:stretch/>
        </p:blipFill>
        <p:spPr>
          <a:xfrm>
            <a:off x="442173" y="2710617"/>
            <a:ext cx="1589603" cy="452108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738" y="1734505"/>
            <a:ext cx="1672471" cy="423411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19" t="22518" r="12347" b="21704"/>
          <a:stretch/>
        </p:blipFill>
        <p:spPr>
          <a:xfrm>
            <a:off x="474908" y="4580858"/>
            <a:ext cx="1524131" cy="345001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923" y="5478558"/>
            <a:ext cx="900103" cy="40493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687" y="3715424"/>
            <a:ext cx="1454572" cy="312733"/>
          </a:xfrm>
          <a:prstGeom prst="rect">
            <a:avLst/>
          </a:prstGeom>
        </p:spPr>
      </p:pic>
      <p:grpSp>
        <p:nvGrpSpPr>
          <p:cNvPr id="31" name="Group 30"/>
          <p:cNvGrpSpPr/>
          <p:nvPr/>
        </p:nvGrpSpPr>
        <p:grpSpPr>
          <a:xfrm>
            <a:off x="3189113" y="1719398"/>
            <a:ext cx="2977835" cy="453628"/>
            <a:chOff x="3300213" y="1719397"/>
            <a:chExt cx="2977835" cy="45362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00213" y="1719397"/>
              <a:ext cx="1042824" cy="453628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07984" y="1789205"/>
              <a:ext cx="1570064" cy="314013"/>
            </a:xfrm>
            <a:prstGeom prst="rect">
              <a:avLst/>
            </a:prstGeom>
          </p:spPr>
        </p:pic>
      </p:grpSp>
      <p:grpSp>
        <p:nvGrpSpPr>
          <p:cNvPr id="30" name="Group 29"/>
          <p:cNvGrpSpPr/>
          <p:nvPr/>
        </p:nvGrpSpPr>
        <p:grpSpPr>
          <a:xfrm>
            <a:off x="3011504" y="2636996"/>
            <a:ext cx="3333057" cy="601401"/>
            <a:chOff x="3034645" y="2636994"/>
            <a:chExt cx="3333057" cy="601401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34645" y="2636994"/>
              <a:ext cx="1336446" cy="60140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6693" y="2823514"/>
              <a:ext cx="1651009" cy="232800"/>
            </a:xfrm>
            <a:prstGeom prst="rect">
              <a:avLst/>
            </a:prstGeom>
          </p:spPr>
        </p:pic>
      </p:grpSp>
      <p:grpSp>
        <p:nvGrpSpPr>
          <p:cNvPr id="29" name="Group 28"/>
          <p:cNvGrpSpPr/>
          <p:nvPr/>
        </p:nvGrpSpPr>
        <p:grpSpPr>
          <a:xfrm>
            <a:off x="2998073" y="3719358"/>
            <a:ext cx="3359919" cy="311212"/>
            <a:chOff x="2987183" y="3719357"/>
            <a:chExt cx="3359919" cy="311212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87183" y="3722338"/>
              <a:ext cx="1401051" cy="308231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6693" y="3719357"/>
              <a:ext cx="1630409" cy="301626"/>
            </a:xfrm>
            <a:prstGeom prst="rect">
              <a:avLst/>
            </a:prstGeom>
          </p:spPr>
        </p:pic>
      </p:grpSp>
      <p:grpSp>
        <p:nvGrpSpPr>
          <p:cNvPr id="28" name="Group 27"/>
          <p:cNvGrpSpPr/>
          <p:nvPr/>
        </p:nvGrpSpPr>
        <p:grpSpPr>
          <a:xfrm>
            <a:off x="2571985" y="4559357"/>
            <a:ext cx="4212095" cy="388987"/>
            <a:chOff x="2571983" y="4559357"/>
            <a:chExt cx="4212095" cy="388987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75297" y="4559357"/>
              <a:ext cx="1254797" cy="388987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1983" y="4621850"/>
              <a:ext cx="1200000" cy="264000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33408" y="4628913"/>
              <a:ext cx="1350670" cy="249874"/>
            </a:xfrm>
            <a:prstGeom prst="rect">
              <a:avLst/>
            </a:prstGeom>
          </p:spPr>
        </p:pic>
      </p:grpSp>
      <p:grpSp>
        <p:nvGrpSpPr>
          <p:cNvPr id="27" name="Group 26"/>
          <p:cNvGrpSpPr/>
          <p:nvPr/>
        </p:nvGrpSpPr>
        <p:grpSpPr>
          <a:xfrm>
            <a:off x="3608688" y="5388404"/>
            <a:ext cx="2138689" cy="585243"/>
            <a:chOff x="3467826" y="5388403"/>
            <a:chExt cx="2138689" cy="585243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12706" y="5537767"/>
              <a:ext cx="1193809" cy="286514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67826" y="5388403"/>
              <a:ext cx="585243" cy="585243"/>
            </a:xfrm>
            <a:prstGeom prst="rect">
              <a:avLst/>
            </a:prstGeom>
          </p:spPr>
        </p:pic>
      </p:grpSp>
      <p:cxnSp>
        <p:nvCxnSpPr>
          <p:cNvPr id="37" name="Straight Connector 36"/>
          <p:cNvCxnSpPr/>
          <p:nvPr/>
        </p:nvCxnSpPr>
        <p:spPr>
          <a:xfrm>
            <a:off x="457200" y="2412279"/>
            <a:ext cx="7924800" cy="0"/>
          </a:xfrm>
          <a:prstGeom prst="line">
            <a:avLst/>
          </a:prstGeom>
          <a:ln w="63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457200" y="3500851"/>
            <a:ext cx="7924800" cy="0"/>
          </a:xfrm>
          <a:prstGeom prst="line">
            <a:avLst/>
          </a:prstGeom>
          <a:ln w="63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457200" y="4319456"/>
            <a:ext cx="7924800" cy="0"/>
          </a:xfrm>
          <a:prstGeom prst="line">
            <a:avLst/>
          </a:prstGeom>
          <a:ln w="63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457200" y="5155479"/>
            <a:ext cx="7924800" cy="0"/>
          </a:xfrm>
          <a:prstGeom prst="line">
            <a:avLst/>
          </a:prstGeom>
          <a:ln w="63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64336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4"/>
          <p:cNvSpPr>
            <a:spLocks noChangeArrowheads="1"/>
          </p:cNvSpPr>
          <p:nvPr/>
        </p:nvSpPr>
        <p:spPr bwMode="gray">
          <a:xfrm>
            <a:off x="6418288" y="2923209"/>
            <a:ext cx="1777205" cy="2280003"/>
          </a:xfrm>
          <a:prstGeom prst="rect">
            <a:avLst/>
          </a:prstGeom>
          <a:solidFill>
            <a:schemeClr val="bg2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137160" tIns="137160" rIns="91440" bIns="13716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600"/>
              </a:spcBef>
            </a:pPr>
            <a:endParaRPr lang="en-US" altLang="en-US" sz="1600" dirty="0">
              <a:solidFill>
                <a:srgbClr val="286EB8"/>
              </a:solidFill>
              <a:latin typeface="+mn-lt"/>
            </a:endParaRPr>
          </a:p>
        </p:txBody>
      </p:sp>
      <p:sp>
        <p:nvSpPr>
          <p:cNvPr id="69" name="Rectangle 4"/>
          <p:cNvSpPr>
            <a:spLocks noChangeArrowheads="1"/>
          </p:cNvSpPr>
          <p:nvPr/>
        </p:nvSpPr>
        <p:spPr bwMode="gray">
          <a:xfrm>
            <a:off x="5190146" y="2923210"/>
            <a:ext cx="739412" cy="2273231"/>
          </a:xfrm>
          <a:prstGeom prst="rect">
            <a:avLst/>
          </a:prstGeom>
          <a:solidFill>
            <a:schemeClr val="bg2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137160" tIns="137160" rIns="91440" bIns="13716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600"/>
              </a:spcBef>
            </a:pPr>
            <a:endParaRPr lang="en-US" altLang="en-US" sz="1600" dirty="0">
              <a:solidFill>
                <a:srgbClr val="286EB8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rTech Disruption: Threat or Opportunity?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utomation efficiencies can have powerful impact on industry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1133857" y="5622434"/>
            <a:ext cx="7833039" cy="1083791"/>
          </a:xfrm>
        </p:spPr>
        <p:txBody>
          <a:bodyPr/>
          <a:lstStyle/>
          <a:p>
            <a:r>
              <a:rPr lang="en-US" sz="900" baseline="30000" dirty="0"/>
              <a:t>1</a:t>
            </a:r>
            <a:r>
              <a:rPr lang="en-US" sz="900" dirty="0"/>
              <a:t>Insurtechs are insurance businesses, usually startups, that use technologically innovative apps, processes, or business models; 2016 data based on some 500 commercially well-known cases. </a:t>
            </a:r>
            <a:r>
              <a:rPr lang="en-US" sz="900" baseline="30000" dirty="0"/>
              <a:t>2</a:t>
            </a:r>
            <a:r>
              <a:rPr lang="en-US" sz="900" dirty="0"/>
              <a:t>Assumes a 3 to 5 percentage point improvement in loss ratio, a 2 to 4 percentage point improvement in operating expenses, and a 6 to 8 percentage point improvement in direct sales conversions. </a:t>
            </a:r>
            <a:r>
              <a:rPr lang="en-US" sz="900" baseline="30000" dirty="0"/>
              <a:t>3</a:t>
            </a:r>
            <a:r>
              <a:rPr lang="en-US" sz="900" dirty="0"/>
              <a:t>Includes growth in investment income as well premiums. Investment income modeled as a ﬂat percentage of premium in each year. </a:t>
            </a:r>
            <a:r>
              <a:rPr lang="en-US" sz="900" baseline="30000" dirty="0"/>
              <a:t>4</a:t>
            </a:r>
            <a:r>
              <a:rPr lang="en-US" sz="900" dirty="0"/>
              <a:t>Includes impact of semi- and fully autonomous vehicles. </a:t>
            </a:r>
            <a:r>
              <a:rPr lang="en-US" sz="900" baseline="30000" dirty="0"/>
              <a:t>5</a:t>
            </a:r>
            <a:r>
              <a:rPr lang="en-US" sz="900" dirty="0"/>
              <a:t>Assumes a </a:t>
            </a:r>
            <a:br>
              <a:rPr lang="en-US" sz="900" dirty="0"/>
            </a:br>
            <a:r>
              <a:rPr lang="en-US" sz="900" dirty="0"/>
              <a:t>25 percent reduction in premiums as a result of telematics and sensors and a 50 percent risk transfer to commercial product liability.</a:t>
            </a:r>
          </a:p>
          <a:p>
            <a:r>
              <a:rPr lang="en-US" sz="900" dirty="0"/>
              <a:t>Source: Panorama by McKinsey; Digital and Auto Insurers Value at Stake Analysis, McKinsey, 2016.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0"/>
          </p:nvPr>
        </p:nvSpPr>
        <p:spPr>
          <a:xfrm>
            <a:off x="371676" y="1620917"/>
            <a:ext cx="4153168" cy="640080"/>
          </a:xfrm>
        </p:spPr>
        <p:txBody>
          <a:bodyPr/>
          <a:lstStyle/>
          <a:p>
            <a:r>
              <a:rPr lang="en-US" dirty="0"/>
              <a:t>Focus of </a:t>
            </a:r>
            <a:r>
              <a:rPr lang="en-US" dirty="0" err="1"/>
              <a:t>InsurTech</a:t>
            </a:r>
            <a:r>
              <a:rPr lang="en-US" dirty="0"/>
              <a:t> in the insurance value chain</a:t>
            </a:r>
            <a:r>
              <a:rPr lang="en-US" baseline="30000" dirty="0"/>
              <a:t>1</a:t>
            </a:r>
            <a:r>
              <a:rPr lang="en-US" dirty="0"/>
              <a:t>, %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77715" y="1620917"/>
            <a:ext cx="4153168" cy="640080"/>
          </a:xfrm>
        </p:spPr>
        <p:txBody>
          <a:bodyPr/>
          <a:lstStyle/>
          <a:p>
            <a:r>
              <a:rPr lang="en-US" dirty="0"/>
              <a:t>Future profits as a </a:t>
            </a:r>
            <a:br>
              <a:rPr lang="en-US" dirty="0"/>
            </a:br>
            <a:r>
              <a:rPr lang="en-US" dirty="0"/>
              <a:t>% of today’s profits</a:t>
            </a:r>
          </a:p>
        </p:txBody>
      </p:sp>
      <p:sp>
        <p:nvSpPr>
          <p:cNvPr id="8" name="Text Box 7"/>
          <p:cNvSpPr txBox="1">
            <a:spLocks noChangeArrowheads="1"/>
          </p:cNvSpPr>
          <p:nvPr/>
        </p:nvSpPr>
        <p:spPr bwMode="gray">
          <a:xfrm>
            <a:off x="495301" y="2372937"/>
            <a:ext cx="40767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Only nine percent of </a:t>
            </a:r>
            <a:r>
              <a:rPr lang="en-US" sz="1600" dirty="0" err="1"/>
              <a:t>InsurTechs</a:t>
            </a:r>
            <a:r>
              <a:rPr lang="en-US" sz="1600" dirty="0"/>
              <a:t> </a:t>
            </a:r>
            <a:br>
              <a:rPr lang="en-US" sz="1600" dirty="0"/>
            </a:br>
            <a:r>
              <a:rPr lang="en-US" sz="1600" dirty="0"/>
              <a:t>aim to oust incumbents</a:t>
            </a:r>
          </a:p>
        </p:txBody>
      </p:sp>
      <p:sp>
        <p:nvSpPr>
          <p:cNvPr id="17" name="Text Box 7"/>
          <p:cNvSpPr txBox="1">
            <a:spLocks noChangeArrowheads="1"/>
          </p:cNvSpPr>
          <p:nvPr/>
        </p:nvSpPr>
        <p:spPr bwMode="gray">
          <a:xfrm>
            <a:off x="4572001" y="2372937"/>
            <a:ext cx="40767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Digitizing the business, </a:t>
            </a:r>
            <a:br>
              <a:rPr lang="en-US" sz="1600" dirty="0"/>
            </a:br>
            <a:r>
              <a:rPr lang="en-US" sz="1600" dirty="0"/>
              <a:t>auto insurance example</a:t>
            </a:r>
          </a:p>
        </p:txBody>
      </p:sp>
      <p:graphicFrame>
        <p:nvGraphicFramePr>
          <p:cNvPr id="18" name="Content Placeholder 6"/>
          <p:cNvGraphicFramePr>
            <a:graphicFrameLocks noGrp="1"/>
          </p:cNvGraphicFramePr>
          <p:nvPr>
            <p:ph idx="4294967295"/>
            <p:extLst/>
          </p:nvPr>
        </p:nvGraphicFramePr>
        <p:xfrm>
          <a:off x="650370" y="2760049"/>
          <a:ext cx="3859815" cy="2805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Text Box 7"/>
          <p:cNvSpPr txBox="1">
            <a:spLocks noChangeArrowheads="1"/>
          </p:cNvSpPr>
          <p:nvPr/>
        </p:nvSpPr>
        <p:spPr bwMode="gray">
          <a:xfrm>
            <a:off x="3445142" y="4940033"/>
            <a:ext cx="1007335" cy="317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00" b="1" dirty="0"/>
              <a:t>Enabling the value chain</a:t>
            </a:r>
          </a:p>
        </p:txBody>
      </p:sp>
      <p:sp>
        <p:nvSpPr>
          <p:cNvPr id="21" name="Text Box 7"/>
          <p:cNvSpPr txBox="1">
            <a:spLocks noChangeArrowheads="1"/>
          </p:cNvSpPr>
          <p:nvPr/>
        </p:nvSpPr>
        <p:spPr bwMode="gray">
          <a:xfrm>
            <a:off x="171576" y="4035695"/>
            <a:ext cx="1614915" cy="724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00" b="1" dirty="0"/>
              <a:t>Disintermediating incumbents from customers</a:t>
            </a:r>
          </a:p>
        </p:txBody>
      </p:sp>
      <p:sp>
        <p:nvSpPr>
          <p:cNvPr id="22" name="Text Box 7"/>
          <p:cNvSpPr txBox="1">
            <a:spLocks noChangeArrowheads="1"/>
          </p:cNvSpPr>
          <p:nvPr/>
        </p:nvSpPr>
        <p:spPr bwMode="gray">
          <a:xfrm>
            <a:off x="1850251" y="3104262"/>
            <a:ext cx="1213644" cy="429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00" b="1" dirty="0"/>
              <a:t>Disrupting the value chain</a:t>
            </a: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gray">
          <a:xfrm>
            <a:off x="4799114" y="4629512"/>
            <a:ext cx="361951" cy="566928"/>
          </a:xfrm>
          <a:prstGeom prst="rect">
            <a:avLst/>
          </a:prstGeom>
          <a:solidFill>
            <a:schemeClr val="accent1"/>
          </a:solidFill>
          <a:ln w="25400" algn="ctr">
            <a:noFill/>
            <a:miter lim="800000"/>
            <a:headEnd/>
            <a:tailEnd/>
          </a:ln>
        </p:spPr>
        <p:txBody>
          <a:bodyPr lIns="137160" tIns="137160" rIns="91440" bIns="13716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600"/>
              </a:spcBef>
            </a:pPr>
            <a:endParaRPr lang="en-US" altLang="en-US" sz="1600" dirty="0">
              <a:solidFill>
                <a:srgbClr val="286EB8"/>
              </a:solidFill>
              <a:latin typeface="+mn-lt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5378877" y="3505106"/>
            <a:ext cx="361951" cy="1131180"/>
            <a:chOff x="5376689" y="3282585"/>
            <a:chExt cx="361950" cy="1131180"/>
          </a:xfrm>
        </p:grpSpPr>
        <p:sp>
          <p:nvSpPr>
            <p:cNvPr id="25" name="Rectangle 4"/>
            <p:cNvSpPr>
              <a:spLocks noChangeArrowheads="1"/>
            </p:cNvSpPr>
            <p:nvPr/>
          </p:nvSpPr>
          <p:spPr bwMode="gray">
            <a:xfrm>
              <a:off x="5376689" y="3282585"/>
              <a:ext cx="361950" cy="457565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  <p:sp>
          <p:nvSpPr>
            <p:cNvPr id="26" name="Rectangle 4"/>
            <p:cNvSpPr>
              <a:spLocks noChangeArrowheads="1"/>
            </p:cNvSpPr>
            <p:nvPr/>
          </p:nvSpPr>
          <p:spPr bwMode="gray">
            <a:xfrm>
              <a:off x="5376689" y="3740150"/>
              <a:ext cx="361950" cy="673615"/>
            </a:xfrm>
            <a:prstGeom prst="rect">
              <a:avLst/>
            </a:prstGeom>
            <a:solidFill>
              <a:schemeClr val="accent4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961875" y="3505106"/>
            <a:ext cx="935056" cy="1698108"/>
            <a:chOff x="5961874" y="3282585"/>
            <a:chExt cx="935056" cy="1698108"/>
          </a:xfrm>
        </p:grpSpPr>
        <p:sp>
          <p:nvSpPr>
            <p:cNvPr id="27" name="Rectangle 4"/>
            <p:cNvSpPr>
              <a:spLocks noChangeArrowheads="1"/>
            </p:cNvSpPr>
            <p:nvPr/>
          </p:nvSpPr>
          <p:spPr bwMode="gray">
            <a:xfrm>
              <a:off x="5961874" y="3740150"/>
              <a:ext cx="361950" cy="1240543"/>
            </a:xfrm>
            <a:prstGeom prst="rect">
              <a:avLst/>
            </a:prstGeom>
            <a:solidFill>
              <a:schemeClr val="accent1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  <p:sp>
          <p:nvSpPr>
            <p:cNvPr id="28" name="Rectangle 4"/>
            <p:cNvSpPr>
              <a:spLocks noChangeArrowheads="1"/>
            </p:cNvSpPr>
            <p:nvPr/>
          </p:nvSpPr>
          <p:spPr bwMode="gray">
            <a:xfrm>
              <a:off x="5961874" y="3282585"/>
              <a:ext cx="361950" cy="45756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  <p:sp>
          <p:nvSpPr>
            <p:cNvPr id="31" name="Rectangle 4"/>
            <p:cNvSpPr>
              <a:spLocks noChangeArrowheads="1"/>
            </p:cNvSpPr>
            <p:nvPr/>
          </p:nvSpPr>
          <p:spPr bwMode="gray">
            <a:xfrm>
              <a:off x="6534980" y="3282585"/>
              <a:ext cx="361950" cy="114665"/>
            </a:xfrm>
            <a:prstGeom prst="rect">
              <a:avLst/>
            </a:prstGeom>
            <a:solidFill>
              <a:schemeClr val="accent5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  <p:sp>
          <p:nvSpPr>
            <p:cNvPr id="32" name="Rectangle 4"/>
            <p:cNvSpPr>
              <a:spLocks noChangeArrowheads="1"/>
            </p:cNvSpPr>
            <p:nvPr/>
          </p:nvSpPr>
          <p:spPr bwMode="gray">
            <a:xfrm>
              <a:off x="6534980" y="3397250"/>
              <a:ext cx="361950" cy="22433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7110486" y="3837393"/>
            <a:ext cx="361951" cy="565087"/>
            <a:chOff x="7111959" y="3621644"/>
            <a:chExt cx="361950" cy="565087"/>
          </a:xfrm>
        </p:grpSpPr>
        <p:sp>
          <p:nvSpPr>
            <p:cNvPr id="33" name="Rectangle 4"/>
            <p:cNvSpPr>
              <a:spLocks noChangeArrowheads="1"/>
            </p:cNvSpPr>
            <p:nvPr/>
          </p:nvSpPr>
          <p:spPr bwMode="gray">
            <a:xfrm>
              <a:off x="7111959" y="3621644"/>
              <a:ext cx="361950" cy="340756"/>
            </a:xfrm>
            <a:prstGeom prst="rect">
              <a:avLst/>
            </a:prstGeom>
            <a:solidFill>
              <a:schemeClr val="accent5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  <p:sp>
          <p:nvSpPr>
            <p:cNvPr id="34" name="Rectangle 4"/>
            <p:cNvSpPr>
              <a:spLocks noChangeArrowheads="1"/>
            </p:cNvSpPr>
            <p:nvPr/>
          </p:nvSpPr>
          <p:spPr bwMode="gray">
            <a:xfrm>
              <a:off x="7111959" y="3962400"/>
              <a:ext cx="361950" cy="22433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7698463" y="4097047"/>
            <a:ext cx="361951" cy="305432"/>
            <a:chOff x="5376689" y="3282586"/>
            <a:chExt cx="361950" cy="305432"/>
          </a:xfrm>
        </p:grpSpPr>
        <p:sp>
          <p:nvSpPr>
            <p:cNvPr id="40" name="Rectangle 4"/>
            <p:cNvSpPr>
              <a:spLocks noChangeArrowheads="1"/>
            </p:cNvSpPr>
            <p:nvPr/>
          </p:nvSpPr>
          <p:spPr bwMode="gray">
            <a:xfrm>
              <a:off x="5376689" y="3282586"/>
              <a:ext cx="361950" cy="22352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  <p:sp>
          <p:nvSpPr>
            <p:cNvPr id="41" name="Rectangle 4"/>
            <p:cNvSpPr>
              <a:spLocks noChangeArrowheads="1"/>
            </p:cNvSpPr>
            <p:nvPr/>
          </p:nvSpPr>
          <p:spPr bwMode="gray">
            <a:xfrm>
              <a:off x="5376689" y="3506110"/>
              <a:ext cx="361950" cy="81908"/>
            </a:xfrm>
            <a:prstGeom prst="rect">
              <a:avLst/>
            </a:prstGeom>
            <a:solidFill>
              <a:schemeClr val="accent4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8275529" y="4097049"/>
            <a:ext cx="361951" cy="1099393"/>
            <a:chOff x="8604944" y="3881300"/>
            <a:chExt cx="361950" cy="1099393"/>
          </a:xfrm>
        </p:grpSpPr>
        <p:sp>
          <p:nvSpPr>
            <p:cNvPr id="42" name="Rectangle 4"/>
            <p:cNvSpPr>
              <a:spLocks noChangeArrowheads="1"/>
            </p:cNvSpPr>
            <p:nvPr/>
          </p:nvSpPr>
          <p:spPr bwMode="gray">
            <a:xfrm>
              <a:off x="8604944" y="3881300"/>
              <a:ext cx="361950" cy="22352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  <p:sp>
          <p:nvSpPr>
            <p:cNvPr id="43" name="Rectangle 4"/>
            <p:cNvSpPr>
              <a:spLocks noChangeArrowheads="1"/>
            </p:cNvSpPr>
            <p:nvPr/>
          </p:nvSpPr>
          <p:spPr bwMode="gray">
            <a:xfrm>
              <a:off x="8604944" y="4105158"/>
              <a:ext cx="361950" cy="875535"/>
            </a:xfrm>
            <a:prstGeom prst="rect">
              <a:avLst/>
            </a:prstGeom>
            <a:solidFill>
              <a:schemeClr val="accent1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</p:grpSp>
      <p:cxnSp>
        <p:nvCxnSpPr>
          <p:cNvPr id="46" name="Straight Connector 45"/>
          <p:cNvCxnSpPr/>
          <p:nvPr/>
        </p:nvCxnSpPr>
        <p:spPr>
          <a:xfrm>
            <a:off x="5161065" y="4629512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5746250" y="3505105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6323825" y="3505105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6896932" y="3837328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7479665" y="4402479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8059905" y="4099128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Box 7"/>
          <p:cNvSpPr txBox="1">
            <a:spLocks noChangeArrowheads="1"/>
          </p:cNvSpPr>
          <p:nvPr/>
        </p:nvSpPr>
        <p:spPr bwMode="gray">
          <a:xfrm>
            <a:off x="4712258" y="5244014"/>
            <a:ext cx="577575" cy="29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00" b="1" dirty="0"/>
              <a:t>Today’s profits</a:t>
            </a:r>
          </a:p>
        </p:txBody>
      </p:sp>
      <p:sp>
        <p:nvSpPr>
          <p:cNvPr id="53" name="Text Box 7"/>
          <p:cNvSpPr txBox="1">
            <a:spLocks noChangeArrowheads="1"/>
          </p:cNvSpPr>
          <p:nvPr/>
        </p:nvSpPr>
        <p:spPr bwMode="gray">
          <a:xfrm>
            <a:off x="5880949" y="5244014"/>
            <a:ext cx="522017" cy="29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00" b="1"/>
              <a:t>2025 profits</a:t>
            </a:r>
            <a:endParaRPr lang="en-US" sz="1000" b="1" dirty="0"/>
          </a:p>
        </p:txBody>
      </p:sp>
      <p:sp>
        <p:nvSpPr>
          <p:cNvPr id="54" name="Text Box 7"/>
          <p:cNvSpPr txBox="1">
            <a:spLocks noChangeArrowheads="1"/>
          </p:cNvSpPr>
          <p:nvPr/>
        </p:nvSpPr>
        <p:spPr bwMode="gray">
          <a:xfrm>
            <a:off x="8195496" y="5244014"/>
            <a:ext cx="522017" cy="29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00" b="1" dirty="0"/>
              <a:t>2035 profits</a:t>
            </a:r>
            <a:r>
              <a:rPr lang="en-US" sz="1000" b="1" baseline="30000" dirty="0"/>
              <a:t>5</a:t>
            </a:r>
          </a:p>
        </p:txBody>
      </p:sp>
      <p:sp>
        <p:nvSpPr>
          <p:cNvPr id="55" name="Text Box 7"/>
          <p:cNvSpPr txBox="1">
            <a:spLocks noChangeArrowheads="1"/>
          </p:cNvSpPr>
          <p:nvPr/>
        </p:nvSpPr>
        <p:spPr bwMode="gray">
          <a:xfrm>
            <a:off x="5217234" y="2971801"/>
            <a:ext cx="685239" cy="29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00" b="1" dirty="0"/>
              <a:t>Short-term gain</a:t>
            </a:r>
          </a:p>
        </p:txBody>
      </p:sp>
      <p:sp>
        <p:nvSpPr>
          <p:cNvPr id="56" name="Text Box 7"/>
          <p:cNvSpPr txBox="1">
            <a:spLocks noChangeArrowheads="1"/>
          </p:cNvSpPr>
          <p:nvPr/>
        </p:nvSpPr>
        <p:spPr bwMode="gray">
          <a:xfrm>
            <a:off x="6395195" y="2971801"/>
            <a:ext cx="1792531" cy="29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00" b="1" dirty="0"/>
              <a:t>Long-term decline</a:t>
            </a:r>
          </a:p>
        </p:txBody>
      </p:sp>
      <p:sp>
        <p:nvSpPr>
          <p:cNvPr id="57" name="Text Box 7"/>
          <p:cNvSpPr txBox="1">
            <a:spLocks noChangeArrowheads="1"/>
          </p:cNvSpPr>
          <p:nvPr/>
        </p:nvSpPr>
        <p:spPr bwMode="gray">
          <a:xfrm>
            <a:off x="5234978" y="4641590"/>
            <a:ext cx="649751" cy="54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Improvements in growth, and loss-and-expense ratio</a:t>
            </a:r>
            <a:r>
              <a:rPr lang="en-US" sz="800" baseline="30000" dirty="0"/>
              <a:t>2</a:t>
            </a:r>
          </a:p>
        </p:txBody>
      </p:sp>
      <p:sp>
        <p:nvSpPr>
          <p:cNvPr id="59" name="Text Box 7"/>
          <p:cNvSpPr txBox="1">
            <a:spLocks noChangeArrowheads="1"/>
          </p:cNvSpPr>
          <p:nvPr/>
        </p:nvSpPr>
        <p:spPr bwMode="gray">
          <a:xfrm>
            <a:off x="6428234" y="4640466"/>
            <a:ext cx="577575" cy="54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Impact from improved vehicle safety</a:t>
            </a:r>
            <a:r>
              <a:rPr lang="en-US" sz="800" baseline="30000" dirty="0"/>
              <a:t>3-4</a:t>
            </a:r>
          </a:p>
        </p:txBody>
      </p:sp>
      <p:sp>
        <p:nvSpPr>
          <p:cNvPr id="60" name="Text Box 7"/>
          <p:cNvSpPr txBox="1">
            <a:spLocks noChangeArrowheads="1"/>
          </p:cNvSpPr>
          <p:nvPr/>
        </p:nvSpPr>
        <p:spPr bwMode="gray">
          <a:xfrm>
            <a:off x="7002674" y="4640466"/>
            <a:ext cx="577575" cy="54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Shift in liability to commercial product lines</a:t>
            </a:r>
            <a:r>
              <a:rPr lang="en-US" sz="800" baseline="30000" dirty="0"/>
              <a:t>4</a:t>
            </a:r>
          </a:p>
        </p:txBody>
      </p:sp>
      <p:sp>
        <p:nvSpPr>
          <p:cNvPr id="61" name="Text Box 7"/>
          <p:cNvSpPr txBox="1">
            <a:spLocks noChangeArrowheads="1"/>
          </p:cNvSpPr>
          <p:nvPr/>
        </p:nvSpPr>
        <p:spPr bwMode="gray">
          <a:xfrm>
            <a:off x="7648074" y="4640466"/>
            <a:ext cx="577575" cy="54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Improved loss-and-expense ratio</a:t>
            </a:r>
            <a:r>
              <a:rPr lang="en-US" sz="800" baseline="30000" dirty="0"/>
              <a:t>4</a:t>
            </a:r>
          </a:p>
        </p:txBody>
      </p:sp>
      <p:sp>
        <p:nvSpPr>
          <p:cNvPr id="62" name="Text Box 7"/>
          <p:cNvSpPr txBox="1">
            <a:spLocks noChangeArrowheads="1"/>
          </p:cNvSpPr>
          <p:nvPr/>
        </p:nvSpPr>
        <p:spPr bwMode="gray">
          <a:xfrm>
            <a:off x="4799114" y="4480389"/>
            <a:ext cx="361951" cy="10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/>
              <a:t>100</a:t>
            </a:r>
            <a:endParaRPr lang="en-US" sz="800" baseline="30000" dirty="0"/>
          </a:p>
        </p:txBody>
      </p:sp>
      <p:sp>
        <p:nvSpPr>
          <p:cNvPr id="63" name="Text Box 7"/>
          <p:cNvSpPr txBox="1">
            <a:spLocks noChangeArrowheads="1"/>
          </p:cNvSpPr>
          <p:nvPr/>
        </p:nvSpPr>
        <p:spPr bwMode="gray">
          <a:xfrm>
            <a:off x="5333399" y="3357724"/>
            <a:ext cx="452904" cy="124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/>
              <a:t>120-200</a:t>
            </a:r>
            <a:endParaRPr lang="en-US" sz="800" baseline="30000" dirty="0"/>
          </a:p>
        </p:txBody>
      </p:sp>
      <p:sp>
        <p:nvSpPr>
          <p:cNvPr id="64" name="Text Box 7"/>
          <p:cNvSpPr txBox="1">
            <a:spLocks noChangeArrowheads="1"/>
          </p:cNvSpPr>
          <p:nvPr/>
        </p:nvSpPr>
        <p:spPr bwMode="gray">
          <a:xfrm>
            <a:off x="5915503" y="3365698"/>
            <a:ext cx="452904" cy="124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220-300</a:t>
            </a:r>
            <a:endParaRPr lang="en-US" sz="800" baseline="30000" dirty="0"/>
          </a:p>
        </p:txBody>
      </p:sp>
      <p:sp>
        <p:nvSpPr>
          <p:cNvPr id="65" name="Text Box 7"/>
          <p:cNvSpPr txBox="1">
            <a:spLocks noChangeArrowheads="1"/>
          </p:cNvSpPr>
          <p:nvPr/>
        </p:nvSpPr>
        <p:spPr bwMode="gray">
          <a:xfrm>
            <a:off x="6489503" y="3879030"/>
            <a:ext cx="452904" cy="124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-20 to -60</a:t>
            </a:r>
            <a:endParaRPr lang="en-US" sz="800" baseline="30000" dirty="0"/>
          </a:p>
        </p:txBody>
      </p:sp>
      <p:sp>
        <p:nvSpPr>
          <p:cNvPr id="66" name="Text Box 7"/>
          <p:cNvSpPr txBox="1">
            <a:spLocks noChangeArrowheads="1"/>
          </p:cNvSpPr>
          <p:nvPr/>
        </p:nvSpPr>
        <p:spPr bwMode="gray">
          <a:xfrm>
            <a:off x="7049182" y="4461862"/>
            <a:ext cx="500989" cy="155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/>
              <a:t>-</a:t>
            </a:r>
            <a:r>
              <a:rPr lang="en-US" sz="800" dirty="0"/>
              <a:t>6</a:t>
            </a:r>
            <a:r>
              <a:rPr lang="en-US" sz="800"/>
              <a:t>0 to -100</a:t>
            </a:r>
            <a:endParaRPr lang="en-US" sz="800" baseline="30000" dirty="0"/>
          </a:p>
        </p:txBody>
      </p:sp>
      <p:sp>
        <p:nvSpPr>
          <p:cNvPr id="67" name="Text Box 7"/>
          <p:cNvSpPr txBox="1">
            <a:spLocks noChangeArrowheads="1"/>
          </p:cNvSpPr>
          <p:nvPr/>
        </p:nvSpPr>
        <p:spPr bwMode="gray">
          <a:xfrm>
            <a:off x="7657007" y="3932961"/>
            <a:ext cx="452904" cy="124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/>
              <a:t>15-55</a:t>
            </a:r>
            <a:endParaRPr lang="en-US" sz="800" baseline="30000" dirty="0"/>
          </a:p>
        </p:txBody>
      </p:sp>
      <p:sp>
        <p:nvSpPr>
          <p:cNvPr id="68" name="Text Box 7"/>
          <p:cNvSpPr txBox="1">
            <a:spLocks noChangeArrowheads="1"/>
          </p:cNvSpPr>
          <p:nvPr/>
        </p:nvSpPr>
        <p:spPr bwMode="gray">
          <a:xfrm>
            <a:off x="8230051" y="3932797"/>
            <a:ext cx="452904" cy="124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155-195</a:t>
            </a:r>
            <a:endParaRPr lang="en-US" sz="800" baseline="30000" dirty="0"/>
          </a:p>
        </p:txBody>
      </p:sp>
    </p:spTree>
    <p:extLst>
      <p:ext uri="{BB962C8B-B14F-4D97-AF65-F5344CB8AC3E}">
        <p14:creationId xmlns:p14="http://schemas.microsoft.com/office/powerpoint/2010/main" val="3735507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7" grpId="0"/>
      <p:bldP spid="19" grpId="0"/>
      <p:bldP spid="21" grpId="0"/>
      <p:bldP spid="22" grpId="0"/>
      <p:bldP spid="52" grpId="0"/>
      <p:bldP spid="53" grpId="0"/>
      <p:bldP spid="54" grpId="0"/>
      <p:bldP spid="55" grpId="0"/>
      <p:bldP spid="56" grpId="0"/>
      <p:bldP spid="57" grpId="0"/>
      <p:bldP spid="59" grpId="0"/>
      <p:bldP spid="60" grpId="0"/>
      <p:bldP spid="61" grpId="0"/>
      <p:bldP spid="62" grpId="0"/>
      <p:bldP spid="63" grpId="0"/>
      <p:bldP spid="64" grpId="0"/>
      <p:bldP spid="65" grpId="0"/>
      <p:bldP spid="66" grpId="0"/>
      <p:bldP spid="67" grpId="0"/>
      <p:bldP spid="6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fontAlgn="ctr"/>
            <a:r>
              <a:rPr lang="en-US" dirty="0"/>
              <a:t>Successful Digital Transformation </a:t>
            </a:r>
            <a:r>
              <a:rPr lang="en-US" dirty="0">
                <a:sym typeface="Wingdings"/>
              </a:rPr>
              <a:t> Holistic Approach  </a:t>
            </a:r>
            <a:r>
              <a:rPr lang="en-US" dirty="0"/>
              <a:t> </a:t>
            </a:r>
          </a:p>
        </p:txBody>
      </p:sp>
      <p:sp>
        <p:nvSpPr>
          <p:cNvPr id="16" name="Hexagon 15"/>
          <p:cNvSpPr/>
          <p:nvPr/>
        </p:nvSpPr>
        <p:spPr>
          <a:xfrm>
            <a:off x="462042" y="2932906"/>
            <a:ext cx="1661729" cy="1432525"/>
          </a:xfrm>
          <a:prstGeom prst="hexagon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17" name="Hexagon 16"/>
          <p:cNvSpPr>
            <a:spLocks noChangeAspect="1"/>
          </p:cNvSpPr>
          <p:nvPr/>
        </p:nvSpPr>
        <p:spPr>
          <a:xfrm>
            <a:off x="457202" y="4409581"/>
            <a:ext cx="1671151" cy="1440648"/>
          </a:xfrm>
          <a:prstGeom prst="hexagon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18" name="Hexagon 17"/>
          <p:cNvSpPr/>
          <p:nvPr/>
        </p:nvSpPr>
        <p:spPr bwMode="gray">
          <a:xfrm>
            <a:off x="3115310" y="1444326"/>
            <a:ext cx="1711836" cy="1475721"/>
          </a:xfrm>
          <a:prstGeom prst="hexagon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9" name="Hexagon 18"/>
          <p:cNvSpPr/>
          <p:nvPr/>
        </p:nvSpPr>
        <p:spPr bwMode="gray">
          <a:xfrm>
            <a:off x="1775695" y="3630718"/>
            <a:ext cx="1711836" cy="1475721"/>
          </a:xfrm>
          <a:prstGeom prst="hexagon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3" name="Hexagon 22"/>
          <p:cNvSpPr/>
          <p:nvPr/>
        </p:nvSpPr>
        <p:spPr bwMode="gray">
          <a:xfrm>
            <a:off x="3115310" y="2896410"/>
            <a:ext cx="1711836" cy="1475721"/>
          </a:xfrm>
          <a:prstGeom prst="hexagon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558"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4" name="Hexagon 23"/>
          <p:cNvSpPr/>
          <p:nvPr/>
        </p:nvSpPr>
        <p:spPr bwMode="gray">
          <a:xfrm>
            <a:off x="1766987" y="2167658"/>
            <a:ext cx="1711836" cy="1475721"/>
          </a:xfrm>
          <a:prstGeom prst="hexagon">
            <a:avLst/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5" name="Hexagon 24"/>
          <p:cNvSpPr/>
          <p:nvPr/>
        </p:nvSpPr>
        <p:spPr bwMode="gray">
          <a:xfrm>
            <a:off x="4478535" y="2528225"/>
            <a:ext cx="4269616" cy="3680704"/>
          </a:xfrm>
          <a:prstGeom prst="hexagon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163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56616" y="1545461"/>
            <a:ext cx="8261291" cy="4041648"/>
          </a:xfrm>
        </p:spPr>
        <p:txBody>
          <a:bodyPr/>
          <a:lstStyle/>
          <a:p>
            <a:pPr marL="338138" indent="-338138"/>
            <a:r>
              <a:rPr lang="en-US" sz="2000" dirty="0"/>
              <a:t>Disruption provides opportunities and challenges throughout the value chai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33460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hank you for your time</a:t>
            </a:r>
            <a:br>
              <a:rPr lang="en-US"/>
            </a:br>
            <a:r>
              <a:rPr lang="en-US"/>
              <a:t>and your attention!</a:t>
            </a:r>
            <a:endParaRPr lang="en-US" dirty="0"/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hlinkClick r:id="rId4"/>
              </a:rPr>
              <a:t>www.iii.org</a:t>
            </a:r>
            <a:endParaRPr lang="en-US" dirty="0"/>
          </a:p>
          <a:p>
            <a:r>
              <a:rPr lang="en-US" dirty="0"/>
              <a:t>Download at </a:t>
            </a:r>
            <a:r>
              <a:rPr lang="en-US" dirty="0">
                <a:hlinkClick r:id="rId5"/>
              </a:rPr>
              <a:t>www.iii.org/presentations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2967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sto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8/15 Created off presentation to FACI, 8/17, combined with previous Disruption slides</a:t>
            </a:r>
          </a:p>
          <a:p>
            <a:r>
              <a:rPr lang="en-US" dirty="0"/>
              <a:t>10/4 Reordered slides, reintroduced slide about loss contro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9602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atest Threats, Opportuniti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hither Silicon Valley?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100" dirty="0"/>
              <a:t>SOURCE: A.M. Best Winter 2016-17 Insurance Industry Survey. 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Greatest Threat</a:t>
            </a:r>
          </a:p>
        </p:txBody>
      </p:sp>
      <p:graphicFrame>
        <p:nvGraphicFramePr>
          <p:cNvPr id="14" name="Object 2"/>
          <p:cNvGraphicFramePr>
            <a:graphicFrameLocks noChangeAspect="1"/>
          </p:cNvGraphicFramePr>
          <p:nvPr>
            <p:extLst/>
          </p:nvPr>
        </p:nvGraphicFramePr>
        <p:xfrm>
          <a:off x="385889" y="2550393"/>
          <a:ext cx="4123895" cy="3479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 Placeholder 7"/>
          <p:cNvSpPr>
            <a:spLocks noGrp="1"/>
          </p:cNvSpPr>
          <p:nvPr>
            <p:ph type="body" sz="quarter" idx="32"/>
          </p:nvPr>
        </p:nvSpPr>
        <p:spPr>
          <a:xfrm>
            <a:off x="356616" y="1651309"/>
            <a:ext cx="4153168" cy="640080"/>
          </a:xfrm>
        </p:spPr>
        <p:txBody>
          <a:bodyPr/>
          <a:lstStyle/>
          <a:p>
            <a:r>
              <a:rPr lang="en-US" dirty="0"/>
              <a:t>Greatest Opportunity</a:t>
            </a:r>
          </a:p>
        </p:txBody>
      </p:sp>
      <p:graphicFrame>
        <p:nvGraphicFramePr>
          <p:cNvPr id="13" name="Object 2"/>
          <p:cNvGraphicFramePr>
            <a:graphicFrameLocks noChangeAspect="1"/>
          </p:cNvGraphicFramePr>
          <p:nvPr>
            <p:extLst/>
          </p:nvPr>
        </p:nvGraphicFramePr>
        <p:xfrm>
          <a:off x="4509784" y="2562474"/>
          <a:ext cx="4123895" cy="3479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Oval 6"/>
          <p:cNvSpPr/>
          <p:nvPr/>
        </p:nvSpPr>
        <p:spPr>
          <a:xfrm>
            <a:off x="776614" y="5173249"/>
            <a:ext cx="2417523" cy="513567"/>
          </a:xfrm>
          <a:prstGeom prst="ellipse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3476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/>
          <p:cNvGraphicFramePr/>
          <p:nvPr>
            <p:extLst/>
          </p:nvPr>
        </p:nvGraphicFramePr>
        <p:xfrm>
          <a:off x="307975" y="1397000"/>
          <a:ext cx="8264525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8370" name="Rectangle 105"/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chemeClr val="bg1"/>
                </a:solidFill>
              </a:rPr>
              <a:t>12/01/09 - 9pm</a:t>
            </a:r>
          </a:p>
        </p:txBody>
      </p:sp>
      <p:sp>
        <p:nvSpPr>
          <p:cNvPr id="58371" name="Rectangle 106"/>
          <p:cNvSpPr>
            <a:spLocks noGrp="1" noChangeArrowheads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 err="1">
                <a:solidFill>
                  <a:schemeClr val="bg1"/>
                </a:solidFill>
              </a:rPr>
              <a:t>eSlide</a:t>
            </a:r>
            <a:r>
              <a:rPr lang="en-US" altLang="en-US" dirty="0">
                <a:solidFill>
                  <a:schemeClr val="bg1"/>
                </a:solidFill>
              </a:rPr>
              <a:t> – P6466 – The Financial Crisis and the Future of the P/C</a:t>
            </a:r>
          </a:p>
        </p:txBody>
      </p:sp>
      <p:sp>
        <p:nvSpPr>
          <p:cNvPr id="58372" name="Rectangle 110"/>
          <p:cNvSpPr>
            <a:spLocks noGrp="1" noChangeArrowheads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US" altLang="en-US" dirty="0"/>
          </a:p>
        </p:txBody>
      </p:sp>
      <p:sp>
        <p:nvSpPr>
          <p:cNvPr id="58375" name="Rectangle 4"/>
          <p:cNvSpPr>
            <a:spLocks noChangeArrowheads="1"/>
          </p:cNvSpPr>
          <p:nvPr/>
        </p:nvSpPr>
        <p:spPr bwMode="black">
          <a:xfrm>
            <a:off x="399415" y="1238250"/>
            <a:ext cx="2743835" cy="221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1143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143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43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43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43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4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4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4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4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US" altLang="en-US" sz="1600" b="1" dirty="0">
                <a:solidFill>
                  <a:schemeClr val="accent2"/>
                </a:solidFill>
              </a:rPr>
              <a:t>Investment ($ Millions)</a:t>
            </a: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899885" y="6389410"/>
            <a:ext cx="7159851" cy="468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5760" tIns="0" rIns="0" bIns="137160" anchor="b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None/>
            </a:pP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hangingPunct="0">
              <a:lnSpc>
                <a:spcPct val="85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SOURCES: CB Insights, Insurance Information Institute. </a:t>
            </a:r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 bwMode="black">
          <a:xfrm>
            <a:off x="899886" y="74295"/>
            <a:ext cx="6586764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>
            <a:lvl1pPr algn="l" defTabSz="1143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225A7A"/>
                </a:solidFill>
                <a:latin typeface="Arial" charset="0"/>
                <a:ea typeface="+mj-ea"/>
                <a:cs typeface="+mj-cs"/>
              </a:defRPr>
            </a:lvl1pPr>
            <a:lvl2pPr algn="l" defTabSz="1143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225A7A"/>
                </a:solidFill>
                <a:latin typeface="Arial"/>
              </a:defRPr>
            </a:lvl2pPr>
            <a:lvl3pPr algn="l" defTabSz="1143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225A7A"/>
                </a:solidFill>
                <a:latin typeface="Arial"/>
              </a:defRPr>
            </a:lvl3pPr>
            <a:lvl4pPr algn="l" defTabSz="1143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225A7A"/>
                </a:solidFill>
                <a:latin typeface="Arial"/>
              </a:defRPr>
            </a:lvl4pPr>
            <a:lvl5pPr algn="l" defTabSz="1143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225A7A"/>
                </a:solidFill>
                <a:latin typeface="Arial"/>
              </a:defRPr>
            </a:lvl5pPr>
            <a:lvl6pPr marL="457200" algn="l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>
                    <a:alpha val="100000"/>
                  </a:schemeClr>
                </a:solidFill>
                <a:latin typeface="Arial"/>
              </a:defRPr>
            </a:lvl6pPr>
            <a:lvl7pPr marL="914400" algn="l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>
                    <a:alpha val="100000"/>
                  </a:schemeClr>
                </a:solidFill>
                <a:latin typeface="Arial"/>
              </a:defRPr>
            </a:lvl7pPr>
            <a:lvl8pPr marL="1371600" algn="l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>
                    <a:alpha val="100000"/>
                  </a:schemeClr>
                </a:solidFill>
                <a:latin typeface="Arial"/>
              </a:defRPr>
            </a:lvl8pPr>
            <a:lvl9pPr marL="1828800" algn="l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>
                    <a:alpha val="100000"/>
                  </a:schemeClr>
                </a:solidFill>
                <a:latin typeface="Arial"/>
              </a:defRPr>
            </a:lvl9pPr>
          </a:lstStyle>
          <a:p>
            <a:r>
              <a:rPr lang="en-US" b="0" dirty="0">
                <a:solidFill>
                  <a:srgbClr val="337DBE"/>
                </a:solidFill>
                <a:latin typeface="+mj-lt"/>
              </a:rPr>
              <a:t>Insurance Technology Financing – Change Is Coming</a:t>
            </a:r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black">
          <a:xfrm>
            <a:off x="6048528" y="1206826"/>
            <a:ext cx="2376914" cy="221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1143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143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43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43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43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4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4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4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4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20000"/>
              </a:spcBef>
            </a:pPr>
            <a:r>
              <a:rPr lang="en-US" altLang="en-US" sz="1600" b="1" dirty="0">
                <a:solidFill>
                  <a:schemeClr val="accent1"/>
                </a:solidFill>
              </a:rPr>
              <a:t>Deals</a:t>
            </a:r>
          </a:p>
        </p:txBody>
      </p:sp>
      <p:sp>
        <p:nvSpPr>
          <p:cNvPr id="16" name="Text Placeholder 4"/>
          <p:cNvSpPr txBox="1">
            <a:spLocks/>
          </p:cNvSpPr>
          <p:nvPr/>
        </p:nvSpPr>
        <p:spPr bwMode="gray">
          <a:xfrm>
            <a:off x="416657" y="5656490"/>
            <a:ext cx="8303481" cy="645564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800" dirty="0">
                <a:solidFill>
                  <a:schemeClr val="bg1"/>
                </a:solidFill>
              </a:rPr>
              <a:t>Investment In Insurance Tech Is Rising. Number of Deals Set A Record Last Year.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6137085" y="777879"/>
            <a:ext cx="1574591" cy="785746"/>
            <a:chOff x="501324" y="1020059"/>
            <a:chExt cx="3325809" cy="785741"/>
          </a:xfrm>
        </p:grpSpPr>
        <p:cxnSp>
          <p:nvCxnSpPr>
            <p:cNvPr id="17" name="Straight Arrow Connector 16"/>
            <p:cNvCxnSpPr/>
            <p:nvPr/>
          </p:nvCxnSpPr>
          <p:spPr bwMode="gray">
            <a:xfrm flipH="1">
              <a:off x="768630" y="1367622"/>
              <a:ext cx="30992" cy="438178"/>
            </a:xfrm>
            <a:prstGeom prst="straightConnector1">
              <a:avLst/>
            </a:prstGeom>
            <a:ln w="28575">
              <a:solidFill>
                <a:schemeClr val="accent2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AutoShape 5"/>
            <p:cNvSpPr>
              <a:spLocks noChangeArrowheads="1"/>
            </p:cNvSpPr>
            <p:nvPr/>
          </p:nvSpPr>
          <p:spPr bwMode="gray">
            <a:xfrm>
              <a:off x="501324" y="1020059"/>
              <a:ext cx="3325809" cy="681966"/>
            </a:xfrm>
            <a:prstGeom prst="rect">
              <a:avLst/>
            </a:prstGeom>
            <a:solidFill>
              <a:schemeClr val="accent2"/>
            </a:solidFill>
            <a:ln w="28575" algn="ctr">
              <a:noFill/>
              <a:miter lim="800000"/>
              <a:headEnd/>
              <a:tailEnd/>
            </a:ln>
          </p:spPr>
          <p:txBody>
            <a:bodyPr lIns="45720" tIns="0" rIns="4572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More Than Half This Funding Was in Two Deals (</a:t>
              </a:r>
              <a:r>
                <a:rPr lang="en-US" sz="1200" b="1" dirty="0" err="1">
                  <a:solidFill>
                    <a:schemeClr val="bg1"/>
                  </a:solidFill>
                  <a:cs typeface="Arial" charset="0"/>
                </a:rPr>
                <a:t>Zenefits</a:t>
              </a: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/ </a:t>
              </a:r>
              <a:r>
                <a:rPr lang="en-US" sz="1200" b="1" dirty="0" err="1">
                  <a:solidFill>
                    <a:schemeClr val="bg1"/>
                  </a:solidFill>
                  <a:cs typeface="Arial" charset="0"/>
                </a:rPr>
                <a:t>Zhong</a:t>
              </a: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 An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2176617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Value Chain?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Example: Local Newspaper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/>
          </p:nvPr>
        </p:nvGraphicFramePr>
        <p:xfrm>
          <a:off x="425768" y="1884363"/>
          <a:ext cx="8458200" cy="40401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348930" y="2503170"/>
            <a:ext cx="6469380" cy="37719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2000" b="1" dirty="0">
                <a:solidFill>
                  <a:schemeClr val="bg1"/>
                </a:solidFill>
              </a:rPr>
              <a:t>Provide Information to Local Audience</a:t>
            </a:r>
          </a:p>
        </p:txBody>
      </p:sp>
      <p:sp>
        <p:nvSpPr>
          <p:cNvPr id="11" name="Text Placeholder 4"/>
          <p:cNvSpPr txBox="1">
            <a:spLocks/>
          </p:cNvSpPr>
          <p:nvPr/>
        </p:nvSpPr>
        <p:spPr bwMode="gray">
          <a:xfrm>
            <a:off x="416657" y="5656490"/>
            <a:ext cx="8303481" cy="645564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800" dirty="0">
                <a:solidFill>
                  <a:schemeClr val="bg1"/>
                </a:solidFill>
              </a:rPr>
              <a:t>This Industry Was Radically Disrupted by the Internet. Its Barriers to Entry Were Destroyed. Is Insurance Next?</a:t>
            </a:r>
          </a:p>
        </p:txBody>
      </p:sp>
    </p:spTree>
    <p:extLst>
      <p:ext uri="{BB962C8B-B14F-4D97-AF65-F5344CB8AC3E}">
        <p14:creationId xmlns:p14="http://schemas.microsoft.com/office/powerpoint/2010/main" val="1822818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70A62A1C-F154-4910-9C4E-62E600A80D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94A54FA7-0450-445A-8026-0207A284701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7E743432-CC7F-4390-8FC6-15CFA3D658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1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20" dur="500" fill="hold"/>
                                        <p:tgtEl>
                                          <p:spTgt spid="9">
                                            <p:graphicEl>
                                              <a:dgm id="{A152B669-C2C7-459C-A64B-5D2800C9DC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21" dur="500" fill="hold"/>
                                        <p:tgtEl>
                                          <p:spTgt spid="9">
                                            <p:graphicEl>
                                              <a:dgm id="{A152B669-C2C7-459C-A64B-5D2800C9DC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22" dur="500" fill="hold"/>
                                        <p:tgtEl>
                                          <p:spTgt spid="9">
                                            <p:graphicEl>
                                              <a:dgm id="{A152B669-C2C7-459C-A64B-5D2800C9DC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23" dur="500" fill="hold"/>
                                        <p:tgtEl>
                                          <p:spTgt spid="9">
                                            <p:graphicEl>
                                              <a:dgm id="{A152B669-C2C7-459C-A64B-5D2800C9DC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21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25" dur="500" fill="hold"/>
                                        <p:tgtEl>
                                          <p:spTgt spid="9">
                                            <p:graphicEl>
                                              <a:dgm id="{BC2DDC50-D412-46F1-908D-7C2905B6AB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26" dur="500" fill="hold"/>
                                        <p:tgtEl>
                                          <p:spTgt spid="9">
                                            <p:graphicEl>
                                              <a:dgm id="{BC2DDC50-D412-46F1-908D-7C2905B6AB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27" dur="500" fill="hold"/>
                                        <p:tgtEl>
                                          <p:spTgt spid="9">
                                            <p:graphicEl>
                                              <a:dgm id="{BC2DDC50-D412-46F1-908D-7C2905B6AB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28" dur="500" fill="hold"/>
                                        <p:tgtEl>
                                          <p:spTgt spid="9">
                                            <p:graphicEl>
                                              <a:dgm id="{BC2DDC50-D412-46F1-908D-7C2905B6AB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1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0" dur="500" fill="hold"/>
                                        <p:tgtEl>
                                          <p:spTgt spid="9">
                                            <p:graphicEl>
                                              <a:dgm id="{94A54FA7-0450-445A-8026-0207A284701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1" dur="500" fill="hold"/>
                                        <p:tgtEl>
                                          <p:spTgt spid="9">
                                            <p:graphicEl>
                                              <a:dgm id="{94A54FA7-0450-445A-8026-0207A2847018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2" dur="500" fill="hold"/>
                                        <p:tgtEl>
                                          <p:spTgt spid="9">
                                            <p:graphicEl>
                                              <a:dgm id="{94A54FA7-0450-445A-8026-0207A284701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9">
                                            <p:graphicEl>
                                              <a:dgm id="{94A54FA7-0450-445A-8026-0207A2847018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21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5" dur="500" fill="hold"/>
                                        <p:tgtEl>
                                          <p:spTgt spid="9">
                                            <p:graphicEl>
                                              <a:dgm id="{7E743432-CC7F-4390-8FC6-15CFA3D658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6" dur="500" fill="hold"/>
                                        <p:tgtEl>
                                          <p:spTgt spid="9">
                                            <p:graphicEl>
                                              <a:dgm id="{7E743432-CC7F-4390-8FC6-15CFA3D658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7" dur="500" fill="hold"/>
                                        <p:tgtEl>
                                          <p:spTgt spid="9">
                                            <p:graphicEl>
                                              <a:dgm id="{7E743432-CC7F-4390-8FC6-15CFA3D658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8" dur="500" fill="hold"/>
                                        <p:tgtEl>
                                          <p:spTgt spid="9">
                                            <p:graphicEl>
                                              <a:dgm id="{7E743432-CC7F-4390-8FC6-15CFA3D658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 uiExpand="1">
        <p:bldSub>
          <a:bldDgm bld="one"/>
        </p:bldSub>
      </p:bldGraphic>
      <p:bldGraphic spid="9" grpId="1" uiExpand="1">
        <p:bldSub>
          <a:bldDgm/>
        </p:bldSub>
      </p:bldGraphic>
      <p:bldP spid="1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/>
          <p:cNvGrpSpPr/>
          <p:nvPr/>
        </p:nvGrpSpPr>
        <p:grpSpPr bwMode="gray">
          <a:xfrm>
            <a:off x="343695" y="1362510"/>
            <a:ext cx="2724912" cy="2308697"/>
            <a:chOff x="343693" y="6487162"/>
            <a:chExt cx="2724912" cy="2308697"/>
          </a:xfrm>
        </p:grpSpPr>
        <p:sp>
          <p:nvSpPr>
            <p:cNvPr id="39" name="Rectangle 38"/>
            <p:cNvSpPr/>
            <p:nvPr/>
          </p:nvSpPr>
          <p:spPr bwMode="gray">
            <a:xfrm>
              <a:off x="343693" y="6982488"/>
              <a:ext cx="2724912" cy="18133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0" name="Text Placeholder 4"/>
            <p:cNvSpPr txBox="1">
              <a:spLocks/>
            </p:cNvSpPr>
            <p:nvPr/>
          </p:nvSpPr>
          <p:spPr bwMode="gray">
            <a:xfrm>
              <a:off x="343693" y="6487162"/>
              <a:ext cx="2724912" cy="731520"/>
            </a:xfrm>
            <a:prstGeom prst="snip1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6" rIns="91429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>
                <a:spcBef>
                  <a:spcPts val="0"/>
                </a:spcBef>
              </a:pPr>
              <a:endParaRPr lang="en-US" sz="180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9" name="Group 68"/>
          <p:cNvGrpSpPr/>
          <p:nvPr/>
        </p:nvGrpSpPr>
        <p:grpSpPr bwMode="gray">
          <a:xfrm>
            <a:off x="3209545" y="1362510"/>
            <a:ext cx="2724912" cy="2308697"/>
            <a:chOff x="3209544" y="6487162"/>
            <a:chExt cx="2724912" cy="2308697"/>
          </a:xfrm>
        </p:grpSpPr>
        <p:sp>
          <p:nvSpPr>
            <p:cNvPr id="44" name="Rectangle 43"/>
            <p:cNvSpPr/>
            <p:nvPr/>
          </p:nvSpPr>
          <p:spPr bwMode="gray">
            <a:xfrm>
              <a:off x="3209544" y="6982488"/>
              <a:ext cx="2724912" cy="18133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5" name="Text Placeholder 4"/>
            <p:cNvSpPr txBox="1">
              <a:spLocks/>
            </p:cNvSpPr>
            <p:nvPr/>
          </p:nvSpPr>
          <p:spPr bwMode="gray">
            <a:xfrm>
              <a:off x="3209544" y="6487162"/>
              <a:ext cx="2724912" cy="731520"/>
            </a:xfrm>
            <a:prstGeom prst="snip1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6" rIns="91429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>
                <a:spcBef>
                  <a:spcPts val="0"/>
                </a:spcBef>
              </a:pPr>
              <a:endParaRPr lang="en-US" sz="180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0" name="Group 69"/>
          <p:cNvGrpSpPr/>
          <p:nvPr/>
        </p:nvGrpSpPr>
        <p:grpSpPr bwMode="gray">
          <a:xfrm>
            <a:off x="6075396" y="1362510"/>
            <a:ext cx="2724912" cy="2308697"/>
            <a:chOff x="6075395" y="6487162"/>
            <a:chExt cx="2724912" cy="2308697"/>
          </a:xfrm>
        </p:grpSpPr>
        <p:sp>
          <p:nvSpPr>
            <p:cNvPr id="49" name="Rectangle 48"/>
            <p:cNvSpPr/>
            <p:nvPr/>
          </p:nvSpPr>
          <p:spPr bwMode="gray">
            <a:xfrm>
              <a:off x="6075395" y="6982488"/>
              <a:ext cx="2724912" cy="18133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Text Placeholder 4"/>
            <p:cNvSpPr txBox="1">
              <a:spLocks/>
            </p:cNvSpPr>
            <p:nvPr/>
          </p:nvSpPr>
          <p:spPr bwMode="gray">
            <a:xfrm>
              <a:off x="6075395" y="6487162"/>
              <a:ext cx="2724912" cy="731520"/>
            </a:xfrm>
            <a:prstGeom prst="snip1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6" rIns="91429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 lvl="0"/>
              <a:endParaRPr lang="en-US" sz="1801" dirty="0"/>
            </a:p>
          </p:txBody>
        </p:sp>
      </p:grpSp>
      <p:grpSp>
        <p:nvGrpSpPr>
          <p:cNvPr id="54" name="Group 53"/>
          <p:cNvGrpSpPr/>
          <p:nvPr/>
        </p:nvGrpSpPr>
        <p:grpSpPr bwMode="gray">
          <a:xfrm>
            <a:off x="1778140" y="3859516"/>
            <a:ext cx="2724912" cy="2308697"/>
            <a:chOff x="343693" y="6487162"/>
            <a:chExt cx="2724912" cy="2308697"/>
          </a:xfrm>
        </p:grpSpPr>
        <p:sp>
          <p:nvSpPr>
            <p:cNvPr id="55" name="Rectangle 54"/>
            <p:cNvSpPr/>
            <p:nvPr/>
          </p:nvSpPr>
          <p:spPr bwMode="gray">
            <a:xfrm>
              <a:off x="343693" y="6982488"/>
              <a:ext cx="2724912" cy="18133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56" name="Text Placeholder 4"/>
            <p:cNvSpPr txBox="1">
              <a:spLocks/>
            </p:cNvSpPr>
            <p:nvPr/>
          </p:nvSpPr>
          <p:spPr bwMode="gray">
            <a:xfrm>
              <a:off x="343693" y="6487162"/>
              <a:ext cx="2724912" cy="731520"/>
            </a:xfrm>
            <a:prstGeom prst="snip1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6" rIns="91429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>
                <a:spcBef>
                  <a:spcPts val="0"/>
                </a:spcBef>
              </a:pPr>
              <a:endParaRPr lang="en-US" sz="180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7" name="Group 56"/>
          <p:cNvGrpSpPr/>
          <p:nvPr/>
        </p:nvGrpSpPr>
        <p:grpSpPr bwMode="gray">
          <a:xfrm>
            <a:off x="4642472" y="3859516"/>
            <a:ext cx="2724912" cy="2308697"/>
            <a:chOff x="343693" y="6487162"/>
            <a:chExt cx="2724912" cy="2308697"/>
          </a:xfrm>
        </p:grpSpPr>
        <p:sp>
          <p:nvSpPr>
            <p:cNvPr id="58" name="Rectangle 57"/>
            <p:cNvSpPr/>
            <p:nvPr/>
          </p:nvSpPr>
          <p:spPr bwMode="gray">
            <a:xfrm>
              <a:off x="343693" y="6982488"/>
              <a:ext cx="2724912" cy="18133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59" name="Text Placeholder 4"/>
            <p:cNvSpPr txBox="1">
              <a:spLocks/>
            </p:cNvSpPr>
            <p:nvPr/>
          </p:nvSpPr>
          <p:spPr bwMode="gray">
            <a:xfrm>
              <a:off x="343693" y="6487162"/>
              <a:ext cx="2724912" cy="731520"/>
            </a:xfrm>
            <a:prstGeom prst="snip1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6" rIns="91429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>
                <a:spcBef>
                  <a:spcPts val="0"/>
                </a:spcBef>
              </a:pPr>
              <a:endParaRPr lang="en-US" sz="1801" dirty="0">
                <a:solidFill>
                  <a:schemeClr val="bg1"/>
                </a:solidFill>
              </a:endParaRPr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fontAlgn="ctr"/>
            <a:r>
              <a:rPr lang="en-US" sz="3000" dirty="0">
                <a:solidFill>
                  <a:schemeClr val="accent1"/>
                </a:solidFill>
                <a:latin typeface="+mn-lt"/>
              </a:rPr>
              <a:t>Insurance Disruption</a:t>
            </a:r>
            <a:br>
              <a:rPr lang="en-US" sz="3000" dirty="0">
                <a:solidFill>
                  <a:schemeClr val="accent1"/>
                </a:solidFill>
                <a:latin typeface="+mn-lt"/>
              </a:rPr>
            </a:br>
            <a:r>
              <a:rPr lang="en-US" sz="3000" dirty="0">
                <a:solidFill>
                  <a:schemeClr val="accent1"/>
                </a:solidFill>
              </a:rPr>
              <a:t>Technology / Digitalization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343695" y="1362510"/>
            <a:ext cx="2724912" cy="2308697"/>
            <a:chOff x="343693" y="1362503"/>
            <a:chExt cx="2724912" cy="2308697"/>
          </a:xfrm>
        </p:grpSpPr>
        <p:grpSp>
          <p:nvGrpSpPr>
            <p:cNvPr id="2" name="Group 1"/>
            <p:cNvGrpSpPr/>
            <p:nvPr/>
          </p:nvGrpSpPr>
          <p:grpSpPr bwMode="gray">
            <a:xfrm>
              <a:off x="343693" y="1362503"/>
              <a:ext cx="2724912" cy="2308697"/>
              <a:chOff x="344196" y="1362503"/>
              <a:chExt cx="2724912" cy="2308697"/>
            </a:xfrm>
          </p:grpSpPr>
          <p:sp>
            <p:nvSpPr>
              <p:cNvPr id="15" name="Rectangle 14"/>
              <p:cNvSpPr/>
              <p:nvPr/>
            </p:nvSpPr>
            <p:spPr bwMode="gray">
              <a:xfrm>
                <a:off x="344196" y="2094023"/>
                <a:ext cx="2724912" cy="1577177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Text Placeholder 4"/>
              <p:cNvSpPr txBox="1">
                <a:spLocks/>
              </p:cNvSpPr>
              <p:nvPr/>
            </p:nvSpPr>
            <p:spPr bwMode="gray">
              <a:xfrm>
                <a:off x="344196" y="1362503"/>
                <a:ext cx="2724912" cy="731520"/>
              </a:xfrm>
              <a:prstGeom prst="snip1Rect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spcBef>
                    <a:spcPts val="0"/>
                  </a:spcBef>
                </a:pPr>
                <a:r>
                  <a:rPr lang="en-US" sz="1801" dirty="0">
                    <a:solidFill>
                      <a:schemeClr val="bg1"/>
                    </a:solidFill>
                  </a:rPr>
                  <a:t>Fundamental</a:t>
                </a:r>
                <a:br>
                  <a:rPr lang="en-US" sz="1801" dirty="0">
                    <a:solidFill>
                      <a:schemeClr val="bg1"/>
                    </a:solidFill>
                  </a:rPr>
                </a:br>
                <a:r>
                  <a:rPr lang="en-US" sz="1801" dirty="0">
                    <a:solidFill>
                      <a:schemeClr val="bg1"/>
                    </a:solidFill>
                  </a:rPr>
                  <a:t>Changes </a:t>
                </a:r>
              </a:p>
            </p:txBody>
          </p:sp>
        </p:grpSp>
        <p:sp>
          <p:nvSpPr>
            <p:cNvPr id="25" name="Content Placeholder 7"/>
            <p:cNvSpPr txBox="1">
              <a:spLocks/>
            </p:cNvSpPr>
            <p:nvPr/>
          </p:nvSpPr>
          <p:spPr bwMode="gray">
            <a:xfrm>
              <a:off x="446980" y="2180331"/>
              <a:ext cx="2517285" cy="872549"/>
            </a:xfrm>
            <a:prstGeom prst="rect">
              <a:avLst/>
            </a:prstGeom>
          </p:spPr>
          <p:txBody>
            <a:bodyPr vert="horz" wrap="square" lIns="45721" tIns="45721" rIns="45721" bIns="45721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62" indent="-231762">
                <a:spcBef>
                  <a:spcPts val="900"/>
                </a:spcBef>
              </a:pPr>
              <a:r>
                <a:rPr lang="en-US" sz="1600" dirty="0"/>
                <a:t>Future of Auto</a:t>
              </a:r>
            </a:p>
            <a:p>
              <a:pPr marL="231762" indent="-231762">
                <a:spcBef>
                  <a:spcPts val="900"/>
                </a:spcBef>
              </a:pPr>
              <a:r>
                <a:rPr lang="en-US" sz="1600" dirty="0"/>
                <a:t>Future of Reduced </a:t>
              </a:r>
              <a:br>
                <a:rPr lang="en-US" sz="1600" dirty="0"/>
              </a:br>
              <a:r>
                <a:rPr lang="en-US" sz="1600" dirty="0"/>
                <a:t>Risk Pools</a:t>
              </a:r>
            </a:p>
          </p:txBody>
        </p:sp>
      </p:grpSp>
      <p:grpSp>
        <p:nvGrpSpPr>
          <p:cNvPr id="31" name="Group 30"/>
          <p:cNvGrpSpPr/>
          <p:nvPr/>
        </p:nvGrpSpPr>
        <p:grpSpPr bwMode="gray">
          <a:xfrm>
            <a:off x="3209545" y="1362510"/>
            <a:ext cx="2724912" cy="2308697"/>
            <a:chOff x="3209544" y="1362503"/>
            <a:chExt cx="2724912" cy="2308697"/>
          </a:xfrm>
        </p:grpSpPr>
        <p:grpSp>
          <p:nvGrpSpPr>
            <p:cNvPr id="5" name="Group 4"/>
            <p:cNvGrpSpPr/>
            <p:nvPr/>
          </p:nvGrpSpPr>
          <p:grpSpPr bwMode="gray">
            <a:xfrm>
              <a:off x="3209544" y="1362503"/>
              <a:ext cx="2724912" cy="2308697"/>
              <a:chOff x="3210047" y="1362503"/>
              <a:chExt cx="2724912" cy="2308697"/>
            </a:xfrm>
          </p:grpSpPr>
          <p:sp>
            <p:nvSpPr>
              <p:cNvPr id="17" name="Rectangle 16"/>
              <p:cNvSpPr/>
              <p:nvPr/>
            </p:nvSpPr>
            <p:spPr bwMode="gray">
              <a:xfrm>
                <a:off x="3210047" y="2094023"/>
                <a:ext cx="2724912" cy="1577177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Text Placeholder 4"/>
              <p:cNvSpPr txBox="1">
                <a:spLocks/>
              </p:cNvSpPr>
              <p:nvPr/>
            </p:nvSpPr>
            <p:spPr bwMode="gray">
              <a:xfrm>
                <a:off x="3210047" y="1362503"/>
                <a:ext cx="2724912" cy="731520"/>
              </a:xfrm>
              <a:prstGeom prst="snip1Rect">
                <a:avLst/>
              </a:prstGeom>
              <a:solidFill>
                <a:schemeClr val="accent3"/>
              </a:solidFill>
              <a:ln w="28575" cap="flat" cmpd="sng" algn="ctr">
                <a:solidFill>
                  <a:schemeClr val="accent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spcBef>
                    <a:spcPts val="0"/>
                  </a:spcBef>
                </a:pPr>
                <a:r>
                  <a:rPr lang="en-US" sz="1801" dirty="0">
                    <a:solidFill>
                      <a:schemeClr val="bg1"/>
                    </a:solidFill>
                  </a:rPr>
                  <a:t>Opportunities</a:t>
                </a:r>
              </a:p>
            </p:txBody>
          </p:sp>
        </p:grpSp>
        <p:sp>
          <p:nvSpPr>
            <p:cNvPr id="26" name="Content Placeholder 7"/>
            <p:cNvSpPr txBox="1">
              <a:spLocks/>
            </p:cNvSpPr>
            <p:nvPr/>
          </p:nvSpPr>
          <p:spPr bwMode="gray">
            <a:xfrm>
              <a:off x="3313357" y="2180331"/>
              <a:ext cx="2517285" cy="1431163"/>
            </a:xfrm>
            <a:prstGeom prst="rect">
              <a:avLst/>
            </a:prstGeom>
          </p:spPr>
          <p:txBody>
            <a:bodyPr vert="horz" wrap="square" lIns="45721" tIns="45721" rIns="45721" bIns="45721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62" indent="-231762">
                <a:spcBef>
                  <a:spcPts val="900"/>
                </a:spcBef>
                <a:buClr>
                  <a:schemeClr val="accent3"/>
                </a:buClr>
              </a:pPr>
              <a:r>
                <a:rPr lang="en-US" sz="1600" dirty="0"/>
                <a:t>Automation / Efficiencies</a:t>
              </a:r>
            </a:p>
            <a:p>
              <a:pPr marL="231762" indent="-231762">
                <a:spcBef>
                  <a:spcPts val="900"/>
                </a:spcBef>
                <a:buClr>
                  <a:schemeClr val="accent3"/>
                </a:buClr>
              </a:pPr>
              <a:r>
                <a:rPr lang="en-US" sz="1600" dirty="0"/>
                <a:t>New Product Lines (Cyber)</a:t>
              </a:r>
            </a:p>
            <a:p>
              <a:pPr marL="231762" indent="-231762">
                <a:spcBef>
                  <a:spcPts val="900"/>
                </a:spcBef>
                <a:buClr>
                  <a:schemeClr val="accent3"/>
                </a:buClr>
              </a:pPr>
              <a:r>
                <a:rPr lang="en-US" sz="1600" dirty="0"/>
                <a:t>Emerging Technologies</a:t>
              </a:r>
            </a:p>
          </p:txBody>
        </p:sp>
      </p:grpSp>
      <p:grpSp>
        <p:nvGrpSpPr>
          <p:cNvPr id="64" name="Group 63"/>
          <p:cNvGrpSpPr/>
          <p:nvPr/>
        </p:nvGrpSpPr>
        <p:grpSpPr bwMode="gray">
          <a:xfrm>
            <a:off x="6075396" y="1362508"/>
            <a:ext cx="2724912" cy="2308696"/>
            <a:chOff x="6075395" y="1362503"/>
            <a:chExt cx="2724912" cy="2308697"/>
          </a:xfrm>
        </p:grpSpPr>
        <p:grpSp>
          <p:nvGrpSpPr>
            <p:cNvPr id="6" name="Group 5"/>
            <p:cNvGrpSpPr/>
            <p:nvPr/>
          </p:nvGrpSpPr>
          <p:grpSpPr bwMode="gray">
            <a:xfrm>
              <a:off x="6075395" y="1362503"/>
              <a:ext cx="2724912" cy="2308697"/>
              <a:chOff x="6075898" y="1362503"/>
              <a:chExt cx="2724912" cy="2308697"/>
            </a:xfrm>
          </p:grpSpPr>
          <p:sp>
            <p:nvSpPr>
              <p:cNvPr id="19" name="Rectangle 18"/>
              <p:cNvSpPr/>
              <p:nvPr/>
            </p:nvSpPr>
            <p:spPr bwMode="gray">
              <a:xfrm>
                <a:off x="6075898" y="2094023"/>
                <a:ext cx="2724912" cy="1577177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Text Placeholder 4"/>
              <p:cNvSpPr txBox="1">
                <a:spLocks/>
              </p:cNvSpPr>
              <p:nvPr/>
            </p:nvSpPr>
            <p:spPr bwMode="gray">
              <a:xfrm>
                <a:off x="6075898" y="1362503"/>
                <a:ext cx="2724912" cy="731520"/>
              </a:xfrm>
              <a:prstGeom prst="snip1Rect">
                <a:avLst/>
              </a:prstGeom>
              <a:solidFill>
                <a:schemeClr val="accent5"/>
              </a:solidFill>
              <a:ln w="28575" cap="flat" cmpd="sng" algn="ctr">
                <a:solidFill>
                  <a:schemeClr val="accent5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 lvl="0"/>
                <a:r>
                  <a:rPr lang="en-US" sz="1801" dirty="0"/>
                  <a:t>Challenges</a:t>
                </a:r>
              </a:p>
            </p:txBody>
          </p:sp>
        </p:grpSp>
        <p:sp>
          <p:nvSpPr>
            <p:cNvPr id="27" name="Content Placeholder 7"/>
            <p:cNvSpPr txBox="1">
              <a:spLocks/>
            </p:cNvSpPr>
            <p:nvPr/>
          </p:nvSpPr>
          <p:spPr bwMode="gray">
            <a:xfrm>
              <a:off x="6179208" y="2180331"/>
              <a:ext cx="2517285" cy="1315747"/>
            </a:xfrm>
            <a:prstGeom prst="rect">
              <a:avLst/>
            </a:prstGeom>
          </p:spPr>
          <p:txBody>
            <a:bodyPr vert="horz" wrap="square" lIns="45721" tIns="45721" rIns="45721" bIns="45721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62" indent="-231762">
                <a:spcBef>
                  <a:spcPts val="900"/>
                </a:spcBef>
                <a:buClr>
                  <a:schemeClr val="accent5"/>
                </a:buClr>
              </a:pPr>
              <a:r>
                <a:rPr lang="en-US" sz="1600" dirty="0"/>
                <a:t>Consumer Trust – Demonstrate the Societal Value</a:t>
              </a:r>
            </a:p>
            <a:p>
              <a:pPr marL="231762" indent="-231762">
                <a:spcBef>
                  <a:spcPts val="900"/>
                </a:spcBef>
                <a:buClr>
                  <a:schemeClr val="accent5"/>
                </a:buClr>
              </a:pPr>
              <a:r>
                <a:rPr lang="en-US" sz="1600" dirty="0"/>
                <a:t>Big Data vs. Individual Privacy</a:t>
              </a:r>
            </a:p>
          </p:txBody>
        </p:sp>
      </p:grpSp>
      <p:grpSp>
        <p:nvGrpSpPr>
          <p:cNvPr id="65" name="Group 64"/>
          <p:cNvGrpSpPr/>
          <p:nvPr/>
        </p:nvGrpSpPr>
        <p:grpSpPr bwMode="gray">
          <a:xfrm>
            <a:off x="1776620" y="3859516"/>
            <a:ext cx="2724912" cy="2308697"/>
            <a:chOff x="1776619" y="3859510"/>
            <a:chExt cx="2724912" cy="2308697"/>
          </a:xfrm>
        </p:grpSpPr>
        <p:grpSp>
          <p:nvGrpSpPr>
            <p:cNvPr id="8" name="Group 7"/>
            <p:cNvGrpSpPr/>
            <p:nvPr/>
          </p:nvGrpSpPr>
          <p:grpSpPr bwMode="gray">
            <a:xfrm>
              <a:off x="1776619" y="3859510"/>
              <a:ext cx="2724912" cy="2308697"/>
              <a:chOff x="1855655" y="3859510"/>
              <a:chExt cx="2724912" cy="2308697"/>
            </a:xfrm>
          </p:grpSpPr>
          <p:sp>
            <p:nvSpPr>
              <p:cNvPr id="21" name="Rectangle 20"/>
              <p:cNvSpPr/>
              <p:nvPr/>
            </p:nvSpPr>
            <p:spPr bwMode="gray">
              <a:xfrm>
                <a:off x="1855655" y="4591030"/>
                <a:ext cx="2724912" cy="1577177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Text Placeholder 4"/>
              <p:cNvSpPr txBox="1">
                <a:spLocks/>
              </p:cNvSpPr>
              <p:nvPr/>
            </p:nvSpPr>
            <p:spPr bwMode="gray">
              <a:xfrm>
                <a:off x="1855655" y="3859510"/>
                <a:ext cx="2724912" cy="731520"/>
              </a:xfrm>
              <a:prstGeom prst="snip1Rect">
                <a:avLst/>
              </a:prstGeom>
              <a:solidFill>
                <a:schemeClr val="accent2"/>
              </a:solidFill>
              <a:ln w="28575" cap="flat" cmpd="sng" algn="ctr">
                <a:solidFill>
                  <a:schemeClr val="accent2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spcBef>
                    <a:spcPts val="0"/>
                  </a:spcBef>
                </a:pPr>
                <a:r>
                  <a:rPr lang="en-US" sz="1801" dirty="0">
                    <a:solidFill>
                      <a:schemeClr val="bg1"/>
                    </a:solidFill>
                  </a:rPr>
                  <a:t>New Market Entrants “Uber of Insurance”?</a:t>
                </a:r>
              </a:p>
            </p:txBody>
          </p:sp>
        </p:grpSp>
        <p:sp>
          <p:nvSpPr>
            <p:cNvPr id="28" name="Content Placeholder 7"/>
            <p:cNvSpPr txBox="1">
              <a:spLocks/>
            </p:cNvSpPr>
            <p:nvPr/>
          </p:nvSpPr>
          <p:spPr bwMode="gray">
            <a:xfrm>
              <a:off x="1880432" y="4675277"/>
              <a:ext cx="2517285" cy="766109"/>
            </a:xfrm>
            <a:prstGeom prst="rect">
              <a:avLst/>
            </a:prstGeom>
          </p:spPr>
          <p:txBody>
            <a:bodyPr vert="horz" wrap="square" lIns="45721" tIns="45721" rIns="45721" bIns="45721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62" indent="-231762">
                <a:spcBef>
                  <a:spcPts val="900"/>
                </a:spcBef>
                <a:buClr>
                  <a:schemeClr val="accent2"/>
                </a:buClr>
              </a:pPr>
              <a:r>
                <a:rPr lang="en-US" sz="1600" dirty="0"/>
                <a:t>Lemonade</a:t>
              </a:r>
            </a:p>
            <a:p>
              <a:pPr marL="461939" lvl="1" indent="-174617">
                <a:spcBef>
                  <a:spcPts val="500"/>
                </a:spcBef>
                <a:buClr>
                  <a:schemeClr val="accent2"/>
                </a:buClr>
              </a:pPr>
              <a:r>
                <a:rPr lang="en-US" sz="1401" dirty="0"/>
                <a:t>Offered in CA, IL, NJ, NY </a:t>
              </a:r>
            </a:p>
          </p:txBody>
        </p:sp>
      </p:grpSp>
      <p:grpSp>
        <p:nvGrpSpPr>
          <p:cNvPr id="67" name="Group 66"/>
          <p:cNvGrpSpPr/>
          <p:nvPr/>
        </p:nvGrpSpPr>
        <p:grpSpPr bwMode="gray">
          <a:xfrm>
            <a:off x="4642472" y="3859517"/>
            <a:ext cx="2724912" cy="2308697"/>
            <a:chOff x="4642470" y="3859510"/>
            <a:chExt cx="2724912" cy="2308697"/>
          </a:xfrm>
        </p:grpSpPr>
        <p:grpSp>
          <p:nvGrpSpPr>
            <p:cNvPr id="10" name="Group 9"/>
            <p:cNvGrpSpPr/>
            <p:nvPr/>
          </p:nvGrpSpPr>
          <p:grpSpPr bwMode="gray">
            <a:xfrm>
              <a:off x="4642470" y="3859510"/>
              <a:ext cx="2724912" cy="2308697"/>
              <a:chOff x="4721506" y="3859510"/>
              <a:chExt cx="2724912" cy="2308697"/>
            </a:xfrm>
          </p:grpSpPr>
          <p:sp>
            <p:nvSpPr>
              <p:cNvPr id="23" name="Rectangle 22"/>
              <p:cNvSpPr/>
              <p:nvPr/>
            </p:nvSpPr>
            <p:spPr bwMode="gray">
              <a:xfrm>
                <a:off x="4721506" y="4591030"/>
                <a:ext cx="2724912" cy="1577177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tx2">
                    <a:lumMod val="90000"/>
                    <a:lumOff val="1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Text Placeholder 4"/>
              <p:cNvSpPr txBox="1">
                <a:spLocks/>
              </p:cNvSpPr>
              <p:nvPr/>
            </p:nvSpPr>
            <p:spPr bwMode="gray">
              <a:xfrm>
                <a:off x="4721506" y="3859510"/>
                <a:ext cx="2724912" cy="731520"/>
              </a:xfrm>
              <a:prstGeom prst="snip1Rect">
                <a:avLst/>
              </a:prstGeom>
              <a:solidFill>
                <a:schemeClr val="tx2">
                  <a:lumMod val="90000"/>
                  <a:lumOff val="10000"/>
                </a:schemeClr>
              </a:solidFill>
              <a:ln w="28575" cap="flat" cmpd="sng" algn="ctr">
                <a:solidFill>
                  <a:schemeClr val="tx2">
                    <a:lumMod val="90000"/>
                    <a:lumOff val="1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spcBef>
                    <a:spcPts val="0"/>
                  </a:spcBef>
                </a:pPr>
                <a:r>
                  <a:rPr lang="en-US" sz="1801" dirty="0">
                    <a:solidFill>
                      <a:schemeClr val="bg1"/>
                    </a:solidFill>
                  </a:rPr>
                  <a:t>Regulatory Opportunities/Threats</a:t>
                </a:r>
              </a:p>
            </p:txBody>
          </p:sp>
        </p:grpSp>
        <p:sp>
          <p:nvSpPr>
            <p:cNvPr id="29" name="Content Placeholder 7"/>
            <p:cNvSpPr txBox="1">
              <a:spLocks/>
            </p:cNvSpPr>
            <p:nvPr/>
          </p:nvSpPr>
          <p:spPr bwMode="gray">
            <a:xfrm>
              <a:off x="4746283" y="4675277"/>
              <a:ext cx="2517285" cy="1431163"/>
            </a:xfrm>
            <a:prstGeom prst="rect">
              <a:avLst/>
            </a:prstGeom>
          </p:spPr>
          <p:txBody>
            <a:bodyPr vert="horz" wrap="square" lIns="45721" tIns="45721" rIns="45721" bIns="45721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62" indent="-231762">
                <a:spcBef>
                  <a:spcPts val="900"/>
                </a:spcBef>
                <a:buClr>
                  <a:schemeClr val="tx2">
                    <a:lumMod val="90000"/>
                    <a:lumOff val="10000"/>
                  </a:schemeClr>
                </a:buClr>
              </a:pPr>
              <a:r>
                <a:rPr lang="en-US" sz="1600" dirty="0"/>
                <a:t>Barrier to Entry</a:t>
              </a:r>
            </a:p>
            <a:p>
              <a:pPr marL="231762" indent="-231762">
                <a:spcBef>
                  <a:spcPts val="900"/>
                </a:spcBef>
                <a:buClr>
                  <a:schemeClr val="tx2">
                    <a:lumMod val="90000"/>
                    <a:lumOff val="10000"/>
                  </a:schemeClr>
                </a:buClr>
              </a:pPr>
              <a:r>
                <a:rPr lang="en-US" sz="1600" dirty="0"/>
                <a:t>US vs. Other Less Regulated Regions</a:t>
              </a:r>
            </a:p>
            <a:p>
              <a:pPr marL="231762" indent="-231762">
                <a:spcBef>
                  <a:spcPts val="900"/>
                </a:spcBef>
                <a:buClr>
                  <a:schemeClr val="tx2">
                    <a:lumMod val="90000"/>
                    <a:lumOff val="10000"/>
                  </a:schemeClr>
                </a:buClr>
              </a:pPr>
              <a:r>
                <a:rPr lang="en-US" sz="1600" dirty="0"/>
                <a:t>Trust Pull-back – the Sandbox Approach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597886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(Re)Insurance Value Chai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here Could Disruption Lie?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/>
          </p:nvPr>
        </p:nvGraphicFramePr>
        <p:xfrm>
          <a:off x="425768" y="1884363"/>
          <a:ext cx="8458200" cy="40401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348930" y="2503170"/>
            <a:ext cx="6469380" cy="37719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2000" b="1" dirty="0">
                <a:solidFill>
                  <a:schemeClr val="bg1"/>
                </a:solidFill>
              </a:rPr>
              <a:t>Protecting People &amp; Organizations</a:t>
            </a:r>
          </a:p>
          <a:p>
            <a:pPr marL="292608" indent="-292608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1" name="Text Placeholder 4"/>
          <p:cNvSpPr txBox="1">
            <a:spLocks/>
          </p:cNvSpPr>
          <p:nvPr/>
        </p:nvSpPr>
        <p:spPr bwMode="gray">
          <a:xfrm>
            <a:off x="416657" y="5656490"/>
            <a:ext cx="8303481" cy="645564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800" dirty="0">
                <a:solidFill>
                  <a:schemeClr val="bg1"/>
                </a:solidFill>
              </a:rPr>
              <a:t>Most Links in the Value Chain Have the Potential </a:t>
            </a:r>
          </a:p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800" dirty="0">
                <a:solidFill>
                  <a:schemeClr val="bg1"/>
                </a:solidFill>
              </a:rPr>
              <a:t>to Be Disrupted in Next 10 Years.</a:t>
            </a:r>
          </a:p>
        </p:txBody>
      </p:sp>
    </p:spTree>
    <p:extLst>
      <p:ext uri="{BB962C8B-B14F-4D97-AF65-F5344CB8AC3E}">
        <p14:creationId xmlns:p14="http://schemas.microsoft.com/office/powerpoint/2010/main" val="3056324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94A54FA7-0450-445A-8026-0207A284701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7E743432-CC7F-4390-8FC6-15CFA3D658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2EA539DF-C130-472D-9E00-B4556113293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8E560B7B-C1C6-4174-B929-8A0EC41215B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8430E4D2-4BE5-4033-A40B-7D01DC320A2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DA227052-28CD-48CA-B212-6CE9437E259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1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0" dur="500" fill="hold"/>
                                        <p:tgtEl>
                                          <p:spTgt spid="9">
                                            <p:graphicEl>
                                              <a:dgm id="{A152B669-C2C7-459C-A64B-5D2800C9DC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1" dur="500" fill="hold"/>
                                        <p:tgtEl>
                                          <p:spTgt spid="9">
                                            <p:graphicEl>
                                              <a:dgm id="{A152B669-C2C7-459C-A64B-5D2800C9DC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2" dur="500" fill="hold"/>
                                        <p:tgtEl>
                                          <p:spTgt spid="9">
                                            <p:graphicEl>
                                              <a:dgm id="{A152B669-C2C7-459C-A64B-5D2800C9DC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9">
                                            <p:graphicEl>
                                              <a:dgm id="{A152B669-C2C7-459C-A64B-5D2800C9DC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21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5" dur="500" fill="hold"/>
                                        <p:tgtEl>
                                          <p:spTgt spid="9">
                                            <p:graphicEl>
                                              <a:dgm id="{70A62A1C-F154-4910-9C4E-62E600A80D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6" dur="500" fill="hold"/>
                                        <p:tgtEl>
                                          <p:spTgt spid="9">
                                            <p:graphicEl>
                                              <a:dgm id="{70A62A1C-F154-4910-9C4E-62E600A80D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7" dur="500" fill="hold"/>
                                        <p:tgtEl>
                                          <p:spTgt spid="9">
                                            <p:graphicEl>
                                              <a:dgm id="{70A62A1C-F154-4910-9C4E-62E600A80D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8" dur="500" fill="hold"/>
                                        <p:tgtEl>
                                          <p:spTgt spid="9">
                                            <p:graphicEl>
                                              <a:dgm id="{70A62A1C-F154-4910-9C4E-62E600A80D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21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0" dur="500" fill="hold"/>
                                        <p:tgtEl>
                                          <p:spTgt spid="9">
                                            <p:graphicEl>
                                              <a:dgm id="{7E743432-CC7F-4390-8FC6-15CFA3D658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1" dur="500" fill="hold"/>
                                        <p:tgtEl>
                                          <p:spTgt spid="9">
                                            <p:graphicEl>
                                              <a:dgm id="{7E743432-CC7F-4390-8FC6-15CFA3D658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2" dur="500" fill="hold"/>
                                        <p:tgtEl>
                                          <p:spTgt spid="9">
                                            <p:graphicEl>
                                              <a:dgm id="{7E743432-CC7F-4390-8FC6-15CFA3D658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43" dur="500" fill="hold"/>
                                        <p:tgtEl>
                                          <p:spTgt spid="9">
                                            <p:graphicEl>
                                              <a:dgm id="{7E743432-CC7F-4390-8FC6-15CFA3D658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21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5" dur="500" fill="hold"/>
                                        <p:tgtEl>
                                          <p:spTgt spid="9">
                                            <p:graphicEl>
                                              <a:dgm id="{2EA539DF-C130-472D-9E00-B4556113293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6" dur="500" fill="hold"/>
                                        <p:tgtEl>
                                          <p:spTgt spid="9">
                                            <p:graphicEl>
                                              <a:dgm id="{2EA539DF-C130-472D-9E00-B45561132935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7" dur="500" fill="hold"/>
                                        <p:tgtEl>
                                          <p:spTgt spid="9">
                                            <p:graphicEl>
                                              <a:dgm id="{2EA539DF-C130-472D-9E00-B4556113293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48" dur="500" fill="hold"/>
                                        <p:tgtEl>
                                          <p:spTgt spid="9">
                                            <p:graphicEl>
                                              <a:dgm id="{2EA539DF-C130-472D-9E00-B45561132935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21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50" dur="500" fill="hold"/>
                                        <p:tgtEl>
                                          <p:spTgt spid="9">
                                            <p:graphicEl>
                                              <a:dgm id="{8E560B7B-C1C6-4174-B929-8A0EC41215B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51" dur="500" fill="hold"/>
                                        <p:tgtEl>
                                          <p:spTgt spid="9">
                                            <p:graphicEl>
                                              <a:dgm id="{8E560B7B-C1C6-4174-B929-8A0EC41215B3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52" dur="500" fill="hold"/>
                                        <p:tgtEl>
                                          <p:spTgt spid="9">
                                            <p:graphicEl>
                                              <a:dgm id="{8E560B7B-C1C6-4174-B929-8A0EC41215B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53" dur="500" fill="hold"/>
                                        <p:tgtEl>
                                          <p:spTgt spid="9">
                                            <p:graphicEl>
                                              <a:dgm id="{8E560B7B-C1C6-4174-B929-8A0EC41215B3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21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55" dur="500" fill="hold"/>
                                        <p:tgtEl>
                                          <p:spTgt spid="9">
                                            <p:graphicEl>
                                              <a:dgm id="{8430E4D2-4BE5-4033-A40B-7D01DC320A2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56" dur="500" fill="hold"/>
                                        <p:tgtEl>
                                          <p:spTgt spid="9">
                                            <p:graphicEl>
                                              <a:dgm id="{8430E4D2-4BE5-4033-A40B-7D01DC320A25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57" dur="500" fill="hold"/>
                                        <p:tgtEl>
                                          <p:spTgt spid="9">
                                            <p:graphicEl>
                                              <a:dgm id="{8430E4D2-4BE5-4033-A40B-7D01DC320A2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58" dur="500" fill="hold"/>
                                        <p:tgtEl>
                                          <p:spTgt spid="9">
                                            <p:graphicEl>
                                              <a:dgm id="{8430E4D2-4BE5-4033-A40B-7D01DC320A25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21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60" dur="500" fill="hold"/>
                                        <p:tgtEl>
                                          <p:spTgt spid="9">
                                            <p:graphicEl>
                                              <a:dgm id="{DA227052-28CD-48CA-B212-6CE9437E259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61" dur="500" fill="hold"/>
                                        <p:tgtEl>
                                          <p:spTgt spid="9">
                                            <p:graphicEl>
                                              <a:dgm id="{DA227052-28CD-48CA-B212-6CE9437E2590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62" dur="500" fill="hold"/>
                                        <p:tgtEl>
                                          <p:spTgt spid="9">
                                            <p:graphicEl>
                                              <a:dgm id="{DA227052-28CD-48CA-B212-6CE9437E259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63" dur="500" fill="hold"/>
                                        <p:tgtEl>
                                          <p:spTgt spid="9">
                                            <p:graphicEl>
                                              <a:dgm id="{DA227052-28CD-48CA-B212-6CE9437E2590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 uiExpand="1">
        <p:bldSub>
          <a:bldDgm bld="one"/>
        </p:bldSub>
      </p:bldGraphic>
      <p:bldGraphic spid="9" grpId="1" uiExpand="1">
        <p:bldSub>
          <a:bldDgm/>
        </p:bldSub>
      </p:bldGraphic>
      <p:bldP spid="1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5287"/>
            <a:ext cx="7939792" cy="1069848"/>
          </a:xfrm>
        </p:spPr>
        <p:txBody>
          <a:bodyPr/>
          <a:lstStyle/>
          <a:p>
            <a:r>
              <a:rPr lang="en-US" dirty="0">
                <a:latin typeface="Arial "/>
              </a:rPr>
              <a:t>Alternative Capital</a:t>
            </a:r>
            <a:br>
              <a:rPr lang="en-US" dirty="0">
                <a:latin typeface="Arial "/>
              </a:rPr>
            </a:br>
            <a:r>
              <a:rPr lang="en-US" dirty="0">
                <a:latin typeface="Arial "/>
              </a:rPr>
              <a:t>Potentially Disrupting the Bank Account</a:t>
            </a:r>
            <a:endParaRPr lang="en-US" b="1" dirty="0">
              <a:latin typeface="Arial 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522514" y="6575615"/>
            <a:ext cx="7046686" cy="282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65760" tIns="0" rIns="0" bIns="137160" anchor="b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1100" dirty="0"/>
              <a:t>Source: Aon Benfield Analytics; Insurance Information Institute.</a:t>
            </a: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extLst/>
          </p:nvPr>
        </p:nvGraphicFramePr>
        <p:xfrm>
          <a:off x="297180" y="1257321"/>
          <a:ext cx="8275791" cy="4187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ctangle 6"/>
          <p:cNvSpPr>
            <a:spLocks noChangeArrowheads="1"/>
          </p:cNvSpPr>
          <p:nvPr/>
        </p:nvSpPr>
        <p:spPr bwMode="blackWhite">
          <a:xfrm>
            <a:off x="457200" y="5664406"/>
            <a:ext cx="8220075" cy="639763"/>
          </a:xfrm>
          <a:prstGeom prst="rect">
            <a:avLst/>
          </a:prstGeom>
          <a:gradFill rotWithShape="1">
            <a:gsLst>
              <a:gs pos="0">
                <a:srgbClr val="FF6801"/>
              </a:gs>
              <a:gs pos="100000">
                <a:srgbClr val="FF6801">
                  <a:gamma/>
                  <a:shade val="86275"/>
                  <a:invGamma/>
                </a:srgbClr>
              </a:gs>
            </a:gsLst>
            <a:lin ang="5400000" scaled="1"/>
          </a:gradFill>
          <a:ln w="12700" algn="ctr">
            <a:solidFill>
              <a:srgbClr val="FF6801"/>
            </a:solidFill>
            <a:miter lim="800000"/>
            <a:headEnd/>
            <a:tailEnd/>
          </a:ln>
          <a:effectLst/>
        </p:spPr>
        <p:txBody>
          <a:bodyPr bIns="64008" anchor="ctr"/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  <a:buClr>
                <a:srgbClr val="FFFFFF"/>
              </a:buClr>
            </a:pPr>
            <a:r>
              <a:rPr lang="en-US" b="1" dirty="0">
                <a:solidFill>
                  <a:srgbClr val="FFFFFF"/>
                </a:solidFill>
              </a:rPr>
              <a:t>Alternative capacity has grown 350% since 2006. It has more than tripled in the past six years.</a:t>
            </a:r>
          </a:p>
        </p:txBody>
      </p:sp>
      <p:sp>
        <p:nvSpPr>
          <p:cNvPr id="3" name="Rectangle 2"/>
          <p:cNvSpPr/>
          <p:nvPr/>
        </p:nvSpPr>
        <p:spPr>
          <a:xfrm>
            <a:off x="6076709" y="5092861"/>
            <a:ext cx="694481" cy="300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36494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850" y="990241"/>
            <a:ext cx="8328025" cy="5216455"/>
          </a:xfrm>
          <a:prstGeom prst="rect">
            <a:avLst/>
          </a:prstGeom>
        </p:spPr>
      </p:pic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577850" y="129816"/>
            <a:ext cx="7405946" cy="86042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3000" b="0" kern="1200">
                <a:solidFill>
                  <a:srgbClr val="337DB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One-Day Auto Insurance</a:t>
            </a:r>
          </a:p>
        </p:txBody>
      </p:sp>
    </p:spTree>
    <p:extLst>
      <p:ext uri="{BB962C8B-B14F-4D97-AF65-F5344CB8AC3E}">
        <p14:creationId xmlns:p14="http://schemas.microsoft.com/office/powerpoint/2010/main" val="19623301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105"/>
          <p:cNvSpPr txBox="1">
            <a:spLocks noGrp="1" noChangeArrowheads="1"/>
          </p:cNvSpPr>
          <p:nvPr/>
        </p:nvSpPr>
        <p:spPr bwMode="auto">
          <a:xfrm>
            <a:off x="85725" y="6961188"/>
            <a:ext cx="1352550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20000"/>
              </a:spcBef>
            </a:pPr>
            <a:r>
              <a:rPr lang="en-US" sz="900">
                <a:solidFill>
                  <a:schemeClr val="bg1"/>
                </a:solidFill>
              </a:rPr>
              <a:t>12/01/09 - 9pm</a:t>
            </a:r>
          </a:p>
        </p:txBody>
      </p:sp>
      <p:sp>
        <p:nvSpPr>
          <p:cNvPr id="65539" name="Rectangle 106"/>
          <p:cNvSpPr txBox="1">
            <a:spLocks noGrp="1" noChangeArrowheads="1"/>
          </p:cNvSpPr>
          <p:nvPr/>
        </p:nvSpPr>
        <p:spPr bwMode="auto">
          <a:xfrm>
            <a:off x="2695575" y="6961188"/>
            <a:ext cx="3752850" cy="11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85000"/>
              </a:lnSpc>
              <a:spcBef>
                <a:spcPct val="20000"/>
              </a:spcBef>
            </a:pPr>
            <a:r>
              <a:rPr lang="en-US" sz="900">
                <a:solidFill>
                  <a:schemeClr val="bg1"/>
                </a:solidFill>
              </a:rPr>
              <a:t>eSlide – P6466 – The Financial Crisis and the Future of the P/C</a:t>
            </a:r>
          </a:p>
        </p:txBody>
      </p:sp>
      <p:sp>
        <p:nvSpPr>
          <p:cNvPr id="65540" name="Rectangle 110"/>
          <p:cNvSpPr txBox="1">
            <a:spLocks noGrp="1" noChangeArrowheads="1"/>
          </p:cNvSpPr>
          <p:nvPr/>
        </p:nvSpPr>
        <p:spPr bwMode="auto">
          <a:xfrm>
            <a:off x="8601075" y="6656388"/>
            <a:ext cx="447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hangingPunct="0">
              <a:lnSpc>
                <a:spcPct val="85000"/>
              </a:lnSpc>
              <a:spcBef>
                <a:spcPct val="20000"/>
              </a:spcBef>
            </a:pPr>
            <a:fld id="{E49E9257-1E9E-4115-9E11-7EEC0715408B}" type="slidenum">
              <a:rPr lang="en-US" sz="900"/>
              <a:pPr algn="r" eaLnBrk="0" hangingPunct="0">
                <a:lnSpc>
                  <a:spcPct val="85000"/>
                </a:lnSpc>
                <a:spcBef>
                  <a:spcPct val="20000"/>
                </a:spcBef>
              </a:pPr>
              <a:t>9</a:t>
            </a:fld>
            <a:endParaRPr lang="en-US" sz="900"/>
          </a:p>
        </p:txBody>
      </p:sp>
      <p:sp>
        <p:nvSpPr>
          <p:cNvPr id="6554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ss Control Disruptor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he Internet of Thing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Telematics Today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Telematics Tomorrow</a:t>
            </a:r>
          </a:p>
        </p:txBody>
      </p:sp>
      <p:sp>
        <p:nvSpPr>
          <p:cNvPr id="3" name="AutoShape 2" descr="data:image/jpeg;base64,/9j/4AAQSkZJRgABAQAAAQABAAD/2wCEAAkGBxAPEhAQDRMQERAQEBIRERARDQ8QFRAPFREWFhcUExUYIiggGBolHBQVITEjJSkrLjAuFyI0OD8vNygtLi0BCgoKDg0OGxAQGiwlICUtNywsLCwtLCwsLCwtNy0vLCwsLCwsLCwwNCwsLCwsLCwsLCwsLCwsLCwsLC0sLCwtLP/AABEIAL8BBwMBEQACEQEDEQH/xAAcAAEBAAIDAQEAAAAAAAAAAAAABwUGAQIDBAj/xABLEAACAQIBBQkKCwYGAwAAAAAAAQIDBBEFBhIhMQcTNEFRYYGRsyIzcXJzdKGxstEVIzI1QlJUYoKDlFOSk6LB0hYXJENjoxQl8P/EABoBAQACAwEAAAAAAAAAAAAAAAABBAIDBQb/xAA0EQEAAQICBQoGAgMBAAAAAAAAAQIDETEEITJRcQUSEzM0QYGRsdFSYXLB4fAUoSJC8SP/2gAMAwEAAhEDEQA/AM5PdAvV+x/hS/uLHR0uFHKF/wCXl+XX/MK9/wCD+FL+4dHSn+ff+Xl+T/MK9/4P4Uv7h0dJ/Pv/AC8vyf5hX3/B/Cl/cOjpP59/5eX5etrn9eynCL3nCU4xfxUtjkl9YTbpTTp96ZiNXl+VSK7tgAAAAAAAAAAAAAAAD5MpZSo20N8uJxpx4sdsnyRS1yfMiYiZya7l2i3GNU4NHytujvXGzpJL9pW14+CEXq6X0G2LW9zbnKM5W48Z9vy1i8zqvqvyq9RLkptUsP3MGZxTTHcp1aTeqzqnw1ejG1L6tL5dSrLxqs5etmWENU1VTnM+by3x8pLHB70co14d7q1YeJWnH1MjCGcV1RlM+cszYZ631HDGpvsV9GrBT/mWEvSYzRTLfRpl6nvx4/uLbsjboNCrhG6i6En9NPTpvwvbHqw5zXNqe5etcoUVaq4w9G40qkZpSg1KMlipRaaa5U1tNToRMTGMOwSAAAH5+qbWW3loydQkAAe9h32l5SHtITkyp2o4r4VHpgAAAAAAAAAAAAAADB505x07Cni8J1pp73Tx2/elyRXpM6aecraTpMWafn3QkeU8pVbqbq15Ocns5Ir6sVxIsRERqhwq66q6udVOMvkDEAAAAAABnM285q1jJaLc6Lfd0W9T5XH6svXxmNVMVN9jSK7M6styuZMyhSuaca1CWlCXXF8cZLiaK8xMThLu27lNynnU5PrIbAAB+f6m1lt5aMnQJAAH0WHfaXlIe0hOTKnajivZUemAAAAAAAAAAAAAAfLlO+hb0qlar8mnHF8rexRXO3gukmIxnBhcuRbpmqruRPK+Ual1VnWqvupvZxRjxRjzIsxGEYQ85crm5VNdWcviJYgAAAAAAAADY8ysvuzrJTfxFVqNRcUXxVOjj5vAjGunnQs6Lf6GvXlOfv8AvcsBWd8AAQCptZbeWjJ0CQAB9Fh32l5SHtITkmnajivRUenAAAAAAAAAAAAAAT3dRyo8aVrF6kt9qc71qC9p9RutR3uTyjdxmLccZ+37wT82uaAAAAAAAAAAHKAr2YWU3cWsVJ4zovepc6STi/3Wl4UyvcjCXc0G7z7WE5xq9v6bGYLgBAam1lx5WMnQhIAA97DvtLykPaQnJlRtRxXoqPTgAAAAAAAAAAAAAIlnPeb/AHVxU4nVlGPiw7iPoii1TGEQ83fr592qr5+mpiyWoAAAGADHwdZOEsedTvCGQAAAAN03L7vRr1aT2VaWl+KEtXonLqNd2NTocnV4XJp3x6f9U00OyAQGptZceVjJ1ISAAPex77S8pD2kJyZUbUcVdz2rSp2VedOUoSW94SjJxaxrQTwa17GV7e07mnTMWJmJwy9YSr4auvtFx+pq+8sYRucTpLnxT5z7nwzdfaLj9RV94wjcdJc+KfOfc+Gbr7RcfqKvvGEbjpLnxT5z7nwzdfaLj9RV94wjcdJc+KfOfdsmYOUq9S7jGrVrTjvc3ozrVJrHBcTZhciOat6DXXN7CapnV3zKmld20ey/la5jc3MY168YqvVSSr1UklUeCST1ItREYRqecu3K+kq/ynOe+d7H/DN19ouP1FX3k4RuYdJc+KfOfc+Gbr7RcfqKvvGEbjpLnxT5z7nwzdfaLj9RV94wjcdJc+KfOfc+Grr7RcfqavvGEbkTcufFPnPusdGu420ajeLjbqbbeOLVPHFlXveiirC3j8kOZbeajJwQkAAcpAU/NbMulShGpdwVStJJ6E1jClzaOyUuVvo5XpruTlDsaNoNNMc65GM7u6G2xoxS0VGKjyKKS6jU6GENUz0zYt50KtelCNKrShKo3CKipxisZKSWpvBPXtNtFc44KGmaLRNE10xhMa+KW4G5xgAAA9KFedNqVKUoSWyUJSi1jt1rWExMxricH1/DN19ouP1NX3jCNzLpLnxT5z7qTueXNSrbSlVnOpLf5LSnOU3hoQ1Yvi1mi7m6/J9UzanGZnX369yVVNrLDiRk6kJAAHvY99peUh7SE5MqNqOKsZ+8BuPyu2gV7e07en9RV4esJAWHCAAADaNznhkfJVPUjC5srmgdfHCVXK7uojnHwq684rdpItU5Q81e62rjPqxxLWAABKJWa9f/AK+ph9hl2DK0bXi9Dc7NP0/ZGWWXnwgAAGczKslWvKCksYwbqP8AAm1/NomNc4UrGiUc+9TE8fL8rGVnoQDHZx8EuvN63Zsyo2oaNK6ivhPoiTLTzrggAAAABUtzPgk/OJ+xA0Xc3Z5O6qePsmFTayw4sZOpCQAB72PfaXlIe0gyp2o4qvn5wGv+V20Cvb2nb0/qKvD1hISw4QAAAbPuc8Mj5Kp6kYXNlc0Dr44Sq5Xd1Es4+FXXnFbtJFqMoeavdbVxn1Y4lrAAAE5LLe/N9TzGXYMrxteL0F3s0/T9kaZYefAAADadzdpXevV8TU2+GJhc2VzQOu8J+ypb5HlXWiu7mMG+R5V1oGMPhzj4Jdeb1uzZlRtQ06V1FfCfREmWnnQgAAAABUdzPgk/OJ+xA0Xc3Z5N6qePsmNTayw4sZOhCQAB72PfaXlIe0h3MqdqOKsZ+cBr/ldtAr29p29P7PV4esJAWHCAAADaNznhkfJVPUjC5srmgdfHCVWK7uonnHwq684rdpItRlDzV7rauM+rGktYAAEonJZb35vqeYy7BlaNrxehu9mn6fsjbLLz7ggAAAkmInMw8HUMWPNp3HLs2chMSxqpjCdS15e4Hc+a1ezZUo2oel0nqK/pn0RVlp55wQAAAAAqO5pwSfl5+xA0Xc3Z5N6qePsmVXayw4kZOgSAAPew77S8pD2kROTKjajiq+ffAa/5XbQK9vadzT+z1eHrCQllwQAAA2fc64ZHydT1I13Nld0Dr44SqxXd1E84+FXXnFbtJFunKHmb3W1cZ9WOJawAABOSyXvzfU8xl2DK0bXi9Dd7NP0/ZG2WXngAAAAAD4/AIRVlK1Ze4Hc+bVezZVo2oej0nqK/pn0RZlp51wAAAAGAFR3NV/pJeXn7EDRdzdrk3qp4+yY1drN7iRk6hIAA97HvtLykPaRE5MqNqOKrZ98Br/ldtAr29p3NP7PV4esJEWXBAAADZ9zrhkfJ1PUjXc2VzQOvjhKqld3kUzj4VdecVu0kW6coeZvdbVxn1Y4lrAAAE5LHe/N9TzGXYMrRteL0N3s0/T9kcZZeeAAAAAA4fH4BCKspWrL3A7nzar2bKtG1D0ek9RX9M+iLstPOuAAADY8wrKlXuZQrwjUjvM2oy2aSlDX1YmFyZiNS3oVFNd3m1RjGHsoP+F7H7PT6maOfVvdb+JY+GGQsbGlQi4UIKEW9LRjs0mksfQiJmZzbrdum3GFMYIdV2stvLxk6hIAA97HvlLykPaRE5MqNqOKq598Br/ldtAr29p3NP7PV4esJGWXBAAADZtzvhkfJ1PUjXc2VzQOvjhKqld3kVzi4VdecVe0kW6coeZvdbXxn1Y4lrAAAE5LFe/N9TzGXYMrRteL0F3s0/T9kdZZefAAAAAA4aEIqylbMrw0rWuuW3qLrpsq07UPS34xs1R8p9EUZaebgAAAM5mVdqjeUW3gpt03+NNL+bRMa4xpWdEr5l6mfDz/KvlV6EAg9Tay48pGToEgAD3se+UvKQ9pETkyo2o4qrn1wGv8AldtAr29p3NP7PV4esJGWXBAAADM5o5QjbXVKpUeEO6hKX1VKLWL5scDGuMYWNFuRbuxVOSsVspUIQdSVWmoJY6WnFprmw29BWwnJ3qrtFNPOmYwRbKFxvtWrU2b5UnPDk0pOWHpLcaoebqq51U1b5mfN84YgAACcljvfm+p5jLsGVo2/F6C72afp+yOssvPuAAAD68mZOq3M97oR0p6LlhpRj3Kwx1yaXGiJmIzZ27dVyebTGMsr/gu//Y/91H+4x6Sne3/wr/w/3Hu5/wAF3/7H/uo/3E9JTvRVoWkTGz/ce6rSp4w0Xxx0X0rAqvQYYxghdWm4txlti3F+FamXHloiY1S6AAAHKeGtAUbN/PmlKEYXrcKiWG+KLcZ87w1xfo9Roqtz3Ovo/KFOGF3VO/e2Onl6zlsuKHTWgvQ2Ycyrct/yrHxx5wjNVa2WnnIydAkAAe1l3yn5SHtITkyo2o4qxnrDSsrhLiUH0RqRf9Ctb2od3ToxsVfvfCQllwAAAAAMAjACQAAABErFe/N9TzGXYMrRt+L0N3s0/T9keZZefcAAAG1bnHC/yZ+uJru7K7yf1/hP2VAru6AAJBnlZbzd1lhqnLfY86nrf82kugtUTjS87pdHMvVR4+f5xYQyVwAAAAetB6yYY1ZPfK1HQr1ofUq1I9U2jGMmy5HNrqj5y+QliAAOYvDWtq1rwhE/Ja72krm3nGOytRai/GhqfpRVjVL01ynpbUxHfHqiklht1PkLTzMOAkAAAAAAAAAAiclhvfm+p5jLsGVo2/F6G52afp+yPMsvPASAANs3Nqbd1J8UaE/TOCNd3ZXuTo/9vD2U0ru4AANP3RckurSjcQWMqOqfPSfH0P0Nm21Vrwc3lGzzqYuR3Z8Px7psb3HAAAAB6UdohjVk2TdCye6Vy6iXc14qS8eKUZL1P8RrtzjSvafb5l7Hfr92rmxTAAHIFYzHv1WtKa+lR+KkuaPyf5Wupla5GFTvaBc59mI3avb+mk58ZJdvcSnFfF126kXxKT+XHrePgkjdbqxhy9Ns9Hdme6dfu1wzVQAAAAAAAAACJyWG9+b6nmUuwZWjb8XobvZp+n7I+yy884CQABSdzfJzp0p15LB1mlDxI46+lt/uo0XZ14Ovybawpmue/wBIbganTAAHWcFJNSSaaaaaxTT2phExjGEpPnbm/KzqYxxdCo3vctui9uhJ8q4uVdJZoq50PP6Vo02atWzOXswBmrAAAB6UNpMMasleznyOryhKnqVSPdUpPimlsfM9np4irRVzZej0qx01vDv7kir0ZU5ShNOMotqUXqaa4mWXnpiYnCc3mEAADO5oZb/8OtjPvVTCNRci4p9GL6GzGunnQs6LpHQ3MZynP38FLytk2le0XTng4ySlCccHoyw1Ti+Pb0plemqaZdu9Zpv0YT4T90myxkmraVHTrLD6sl8mceWL/wDsCzExMYw8/dtVWqubV/18BLWAAAAAAAAATksN6v8AQVPMpdgytG34vQ3ezT9P2R9ll55wAwA2HNbNmpdyU5pwt0+6ns08Pow5fDxeEwrr5q3ouizenGdnfv4KpSpxhGMYJRjFKMUtSUUsEkVnfiIpjCHcJAAADwvLSnWhKnWipQksHF+tcj5yYnDXDCuimunm1RqTPOTNKrat1KWNSht0ksZQX30uLnWrwFiiuKnD0nQ67OuNdPpx92tYGamAAPShtJhFWS6FJ6xr+c+bFO8WnBqnXSwU8NU0tinh69q59hsor5qlpWh03v8AKNVXrxTbKeSK9tLRrwlHXqlhjGXiyWpm+JicnFuWq7U4Vxh6eb4cCWswA+qxyfWrvRownN/djil4XsXSJmIzZUUVVzhRGKnZo5MubanoXE4uO2FJd06fL3X9NaK9yqJnU7mhWbtqnCudXdG7x+zLX9jSuIOnXhGcXxPifKntT50YRMxks3LVFynm1RjDTso7nybbtquC4oVVs/HH3G2Lu9zbnJnwVefv+GJnmLerYqT51V96Rn0lKvPJ9/dHm9rbMG5k/jJ0oLxpTfUlh6SJu0sqeTrs5zEf22HJ+ZtpbJ1K735wTk3USUIpLFvQX9cTCbkzqhct6Batxzq9eG/Ly98U7ypdb9Vq1cMNObaX1Y7Ix6Ekug3xGEYOPXXz6pq3vlDEAAcxjjqW16ukljOWpaMp27dtWpwWMnb1IRS43vbSSKlM/wCUS9NepmbNVMbp9EwjmrfN6qE+mVOPrZY59O9wo0S/8E/17sha5iXc8N8dOmuPSnpPqjivSYzdpbqOT7054R+/JsmSsx7ajhKs3XkuKS0YY+Lx9LaMJuzOS7a5Ot0669fp5e7aIxSSSSSSwSSwSXIjU6ERg5AAAAAAAA13LGZ9tcYyit5qP6VNLRb+9DZ1YM2U3JhSvaBaua41T8vZqV/mNd08d60Ky4tGSjLpjLD0NmyLlMudc5PvU5YT+/P3YevkS6h8qhWXPvU2utLAz50b1abNynOmfKXShk+tj3qr/Cn7icYYVW6/hnylaim9UAdZwUk1JJp7U1in0BExE6pYytm5ZT+VQpfhjoezgZc+re0Tolif9Y9HFHNqyhsoU34yc/axJ59W9EaHYj/WPV65YvFZ286tOEWqbh3C7hYSqRi8MNm0imOdOCdIudBamqmMsNXi8MkZyW11goT0Kj/254Rlj93il0E1UTDGzplq7qicJ3SzBgtAAABoufmcUcHaUHi2/jpJ6lh/tp8vL1cuG63R3y5Gn6VE/wDlR4+3v5NDNzluAAADJ5t2u+3VvDlqxk/Fj3T9EWRVOES22KOfdpp+fprWQqPTAAAAAAAAAAAAAAAAAAAAAAADBZ78Cr/l9tA2WtpT5Q7PV4esJOWHn2YybnPd2+ChUcor6FT4xenWuhoxmimVm3pV63lV562yWm6CsPj6Ov61Oe38MtnWa5tbpXaOU/ip8v37voq7oNFLuKVVvklKEV1psdDO9nPKlHdTP9MBlfPO5rpwp4UYPaoNuTXI5+5IzptxCne067c1Rqj5e7WjNTcAAAHIG67m2TsZ1LiS1QW9w8eWDl1LD941XZ1YOlybbxqm5u1fv73qAaHZAAAAAAAAAAAAAAAAAAAAAAAGCz34FX/L7aBst7Snyh2erw9YSgsOA4AAAAAAAAAe1nbTrTjTprGc2oxXO/6DLWmmmapimnOViyPk+NtRp0Ya9Fa39ab1yfWVapxnF6Wxai1RFEPtMW0AAAAAAAAAAAAAAAAAAAAAAAYPPbgVf8vtoGy3tKXKHZ6vD1hKCw4IAAAAAAABzCDk0opttpJJYtt7EkBTMz82/wDxY77WS3+a2bd6i/or7z430eGvcrx1Q7ehaJ0Uc+van+mzGt0AAAAAAAAAAAAAAAAAAAAAAAAAx+Xsnu5oVKMWouejg2m1jGalr6sDKirCcWjSbM3bU0RP7mlWVMk17WWjXg48ktsZeLLY/BtLMTE5PPXbVdqcK4w9HwksAAAAAAPqsLCrcTUKMHOT5OJcsnsS52JmIzZUUVXKubRGMqPmzmtC0wqVMKlf630afNDHj5/UV67mOqHb0XQotf5Va6vTh7tiNa8AAAAAAAAAAAAAAAAAAAAAAAAAAB0rUYzi41IxlF6nGSUk1zpiJwY1UxVGFUYw1jKWY1vUxdCUqMnxfLh1PWus2xdnvULvJturXROH9x++LXLzMi7hjoKFRfdmovDnUsPWbIu0yo18n3qcsJ8fdhbnJlWnqqR0fxRfqZnExOSrXRVRtQ86VnObwisX4UvWTOpjTjVky1nmjeVdahGMfrSqQw/lbfoMJuUws0aHfryjzmPy2HJuYUI4O5qOX3Ka0V0yet9CRrm7uXbfJkZ3KvCPf/jbbKypUI6FGEYR5Ira+VvjfOzVMzObpW7dFuMKYwe5DMAAAAAAAAAAAAAAAAAAAAB//9k="/>
          <p:cNvSpPr>
            <a:spLocks noChangeAspect="1" noChangeArrowheads="1"/>
          </p:cNvSpPr>
          <p:nvPr/>
        </p:nvSpPr>
        <p:spPr bwMode="auto">
          <a:xfrm>
            <a:off x="-3175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AutoShape 4" descr="data:image/jpeg;base64,/9j/4AAQSkZJRgABAQAAAQABAAD/2wCEAAkGBxAPEhAQDRMQERAQEBIRERARDQ8QFRAPFREWFhcUExUYIiggGBolHBQVITEjJSkrLjAuFyI0OD8vNygtLi0BCgoKDg0OGxAQGiwlICUtNywsLCwtLCwsLCwtNy0vLCwsLCwsLCwwNCwsLCwsLCwsLCwsLCwsLCwsLC0sLCwtLP/AABEIAL8BBwMBEQACEQEDEQH/xAAcAAEBAAIDAQEAAAAAAAAAAAAABwUGAQIDBAj/xABLEAACAQIBBQkKCwYGAwAAAAAAAQIDBBEFBhIhMQcTNEFRYYGRsyIzcXJzdKGxstEVIzI1QlJUYoKDlFOSk6LB0hYXJENjoxQl8P/EABoBAQACAwEAAAAAAAAAAAAAAAABBAIDBQb/xAA0EQEAAQICBQoGAgMBAAAAAAAAAQIDETEEITJRcQUSEzM0QYGRsdFSYXLB4fAUoSJC8SP/2gAMAwEAAhEDEQA/AM5PdAvV+x/hS/uLHR0uFHKF/wCXl+XX/MK9/wCD+FL+4dHSn+ff+Xl+T/MK9/4P4Uv7h0dJ/Pv/AC8vyf5hX3/B/Cl/cOjpP59/5eX5etrn9eynCL3nCU4xfxUtjkl9YTbpTTp96ZiNXl+VSK7tgAAAAAAAAAAAAAAAD5MpZSo20N8uJxpx4sdsnyRS1yfMiYiZya7l2i3GNU4NHytujvXGzpJL9pW14+CEXq6X0G2LW9zbnKM5W48Z9vy1i8zqvqvyq9RLkptUsP3MGZxTTHcp1aTeqzqnw1ejG1L6tL5dSrLxqs5etmWENU1VTnM+by3x8pLHB70co14d7q1YeJWnH1MjCGcV1RlM+cszYZ631HDGpvsV9GrBT/mWEvSYzRTLfRpl6nvx4/uLbsjboNCrhG6i6En9NPTpvwvbHqw5zXNqe5etcoUVaq4w9G40qkZpSg1KMlipRaaa5U1tNToRMTGMOwSAAAH5+qbWW3loydQkAAe9h32l5SHtITkyp2o4r4VHpgAAAAAAAAAAAAAADB505x07Cni8J1pp73Tx2/elyRXpM6aecraTpMWafn3QkeU8pVbqbq15Ocns5Ir6sVxIsRERqhwq66q6udVOMvkDEAAAAAABnM285q1jJaLc6Lfd0W9T5XH6svXxmNVMVN9jSK7M6styuZMyhSuaca1CWlCXXF8cZLiaK8xMThLu27lNynnU5PrIbAAB+f6m1lt5aMnQJAAH0WHfaXlIe0hOTKnajivZUemAAAAAAAAAAAAAAfLlO+hb0qlar8mnHF8rexRXO3gukmIxnBhcuRbpmqruRPK+Ual1VnWqvupvZxRjxRjzIsxGEYQ85crm5VNdWcviJYgAAAAAAAADY8ysvuzrJTfxFVqNRcUXxVOjj5vAjGunnQs6Lf6GvXlOfv8AvcsBWd8AAQCptZbeWjJ0CQAB9Fh32l5SHtITkmnajivRUenAAAAAAAAAAAAAAT3dRyo8aVrF6kt9qc71qC9p9RutR3uTyjdxmLccZ+37wT82uaAAAAAAAAAAHKAr2YWU3cWsVJ4zovepc6STi/3Wl4UyvcjCXc0G7z7WE5xq9v6bGYLgBAam1lx5WMnQhIAA97DvtLykPaQnJlRtRxXoqPTgAAAAAAAAAAAAAIlnPeb/AHVxU4nVlGPiw7iPoii1TGEQ83fr592qr5+mpiyWoAAAGADHwdZOEsedTvCGQAAAAN03L7vRr1aT2VaWl+KEtXonLqNd2NTocnV4XJp3x6f9U00OyAQGptZceVjJ1ISAAPex77S8pD2kJyZUbUcVdz2rSp2VedOUoSW94SjJxaxrQTwa17GV7e07mnTMWJmJwy9YSr4auvtFx+pq+8sYRucTpLnxT5z7nwzdfaLj9RV94wjcdJc+KfOfc+Gbr7RcfqKvvGEbjpLnxT5z7nwzdfaLj9RV94wjcdJc+KfOfdsmYOUq9S7jGrVrTjvc3ozrVJrHBcTZhciOat6DXXN7CapnV3zKmld20ey/la5jc3MY168YqvVSSr1UklUeCST1ItREYRqecu3K+kq/ynOe+d7H/DN19ouP1FX3k4RuYdJc+KfOfc+Gbr7RcfqKvvGEbjpLnxT5z7nwzdfaLj9RV94wjcdJc+KfOfc+Grr7RcfqavvGEbkTcufFPnPusdGu420ajeLjbqbbeOLVPHFlXveiirC3j8kOZbeajJwQkAAcpAU/NbMulShGpdwVStJJ6E1jClzaOyUuVvo5XpruTlDsaNoNNMc65GM7u6G2xoxS0VGKjyKKS6jU6GENUz0zYt50KtelCNKrShKo3CKipxisZKSWpvBPXtNtFc44KGmaLRNE10xhMa+KW4G5xgAAA9KFedNqVKUoSWyUJSi1jt1rWExMxricH1/DN19ouP1NX3jCNzLpLnxT5z7qTueXNSrbSlVnOpLf5LSnOU3hoQ1Yvi1mi7m6/J9UzanGZnX369yVVNrLDiRk6kJAAHvY99peUh7SE5MqNqOKsZ+8BuPyu2gV7e07en9RV4esJAWHCAAADaNznhkfJVPUjC5srmgdfHCVXK7uojnHwq684rdpItU5Q81e62rjPqxxLWAABKJWa9f/AK+ph9hl2DK0bXi9Dc7NP0/ZGWWXnwgAAGczKslWvKCksYwbqP8AAm1/NomNc4UrGiUc+9TE8fL8rGVnoQDHZx8EuvN63Zsyo2oaNK6ivhPoiTLTzrggAAAABUtzPgk/OJ+xA0Xc3Z5O6qePsmFTayw4sZOpCQAB72PfaXlIe0gyp2o4qvn5wGv+V20Cvb2nb0/qKvD1hISw4QAAAbPuc8Mj5Kp6kYXNlc0Dr44Sq5Xd1Es4+FXXnFbtJFqMoeavdbVxn1Y4lrAAAE5LLe/N9TzGXYMrxteL0F3s0/T9kaZYefAAADadzdpXevV8TU2+GJhc2VzQOu8J+ypb5HlXWiu7mMG+R5V1oGMPhzj4Jdeb1uzZlRtQ06V1FfCfREmWnnQgAAAABUdzPgk/OJ+xA0Xc3Z5N6qePsmNTayw4sZOhCQAB72PfaXlIe0h3MqdqOKsZ+cBr/ldtAr29p29P7PV4esJAWHCAAADaNznhkfJVPUjC5srmgdfHCVWK7uonnHwq684rdpItRlDzV7rauM+rGktYAAEonJZb35vqeYy7BlaNrxehu9mn6fsjbLLz7ggAAAkmInMw8HUMWPNp3HLs2chMSxqpjCdS15e4Hc+a1ezZUo2oel0nqK/pn0RVlp55wQAAAAAqO5pwSfl5+xA0Xc3Z5N6qePsmVXayw4kZOgSAAPew77S8pD2kROTKjajiq+ffAa/5XbQK9vadzT+z1eHrCQllwQAAA2fc64ZHydT1I13Nld0Dr44SqxXd1E84+FXXnFbtJFunKHmb3W1cZ9WOJawAABOSyXvzfU8xl2DK0bXi9Dd7NP0/ZG2WXngAAAAAD4/AIRVlK1Ze4Hc+bVezZVo2oej0nqK/pn0RZlp51wAAAAGAFR3NV/pJeXn7EDRdzdrk3qp4+yY1drN7iRk6hIAA97HvtLykPaRE5MqNqOKrZ98Br/ldtAr29p3NP7PV4esJEWXBAAADZ9zrhkfJ1PUjXc2VzQOvjhKqld3kUzj4VdecVu0kW6coeZvdbVxn1Y4lrAAAE5LHe/N9TzGXYMrRteL0N3s0/T9kcZZeeAAAAAA4fH4BCKspWrL3A7nzar2bKtG1D0ek9RX9M+iLstPOuAAADY8wrKlXuZQrwjUjvM2oy2aSlDX1YmFyZiNS3oVFNd3m1RjGHsoP+F7H7PT6maOfVvdb+JY+GGQsbGlQi4UIKEW9LRjs0mksfQiJmZzbrdum3GFMYIdV2stvLxk6hIAA97HvlLykPaRE5MqNqOKq598Br/ldtAr29p3NP7PV4esJGWXBAAADZtzvhkfJ1PUjXc2VzQOvjhKqld3kVzi4VdecVe0kW6coeZvdbXxn1Y4lrAAAE5LFe/N9TzGXYMrRteL0F3s0/T9kdZZefAAAAAA4aEIqylbMrw0rWuuW3qLrpsq07UPS34xs1R8p9EUZaebgAAAM5mVdqjeUW3gpt03+NNL+bRMa4xpWdEr5l6mfDz/KvlV6EAg9Tay48pGToEgAD3se+UvKQ9pETkyo2o4qrn1wGv8AldtAr29p3NP7PV4esJGWXBAAADM5o5QjbXVKpUeEO6hKX1VKLWL5scDGuMYWNFuRbuxVOSsVspUIQdSVWmoJY6WnFprmw29BWwnJ3qrtFNPOmYwRbKFxvtWrU2b5UnPDk0pOWHpLcaoebqq51U1b5mfN84YgAACcljvfm+p5jLsGVo2/F6C72afp+yOssvPuAAAD68mZOq3M97oR0p6LlhpRj3Kwx1yaXGiJmIzZ27dVyebTGMsr/gu//Y/91H+4x6Sne3/wr/w/3Hu5/wAF3/7H/uo/3E9JTvRVoWkTGz/ce6rSp4w0Xxx0X0rAqvQYYxghdWm4txlti3F+FamXHloiY1S6AAAHKeGtAUbN/PmlKEYXrcKiWG+KLcZ87w1xfo9Roqtz3Ovo/KFOGF3VO/e2Onl6zlsuKHTWgvQ2Ycyrct/yrHxx5wjNVa2WnnIydAkAAe1l3yn5SHtITkyo2o4qxnrDSsrhLiUH0RqRf9Ctb2od3ToxsVfvfCQllwAAAAAMAjACQAAABErFe/N9TzGXYMrRt+L0N3s0/T9keZZefcAAAG1bnHC/yZ+uJru7K7yf1/hP2VAru6AAJBnlZbzd1lhqnLfY86nrf82kugtUTjS87pdHMvVR4+f5xYQyVwAAAAetB6yYY1ZPfK1HQr1ofUq1I9U2jGMmy5HNrqj5y+QliAAOYvDWtq1rwhE/Ja72krm3nGOytRai/GhqfpRVjVL01ynpbUxHfHqiklht1PkLTzMOAkAAAAAAAAAAiclhvfm+p5jLsGVo2/F6G52afp+yPMsvPASAANs3Nqbd1J8UaE/TOCNd3ZXuTo/9vD2U0ru4AANP3RckurSjcQWMqOqfPSfH0P0Nm21Vrwc3lGzzqYuR3Z8Px7psb3HAAAAB6UdohjVk2TdCye6Vy6iXc14qS8eKUZL1P8RrtzjSvafb5l7Hfr92rmxTAAHIFYzHv1WtKa+lR+KkuaPyf5Wupla5GFTvaBc59mI3avb+mk58ZJdvcSnFfF126kXxKT+XHrePgkjdbqxhy9Ns9Hdme6dfu1wzVQAAAAAAAAACJyWG9+b6nmUuwZWjb8XobvZp+n7I+yy884CQABSdzfJzp0p15LB1mlDxI46+lt/uo0XZ14Ovybawpmue/wBIbganTAAHWcFJNSSaaaaaxTT2phExjGEpPnbm/KzqYxxdCo3vctui9uhJ8q4uVdJZoq50PP6Vo02atWzOXswBmrAAAB6UNpMMasleznyOryhKnqVSPdUpPimlsfM9np4irRVzZej0qx01vDv7kir0ZU5ShNOMotqUXqaa4mWXnpiYnCc3mEAADO5oZb/8OtjPvVTCNRci4p9GL6GzGunnQs6LpHQ3MZynP38FLytk2le0XTng4ySlCccHoyw1Ti+Pb0plemqaZdu9Zpv0YT4T90myxkmraVHTrLD6sl8mceWL/wDsCzExMYw8/dtVWqubV/18BLWAAAAAAAAATksN6v8AQVPMpdgytG34vQ3ezT9P2R9ll55wAwA2HNbNmpdyU5pwt0+6ns08Pow5fDxeEwrr5q3ouizenGdnfv4KpSpxhGMYJRjFKMUtSUUsEkVnfiIpjCHcJAAADwvLSnWhKnWipQksHF+tcj5yYnDXDCuimunm1RqTPOTNKrat1KWNSht0ksZQX30uLnWrwFiiuKnD0nQ67OuNdPpx92tYGamAAPShtJhFWS6FJ6xr+c+bFO8WnBqnXSwU8NU0tinh69q59hsor5qlpWh03v8AKNVXrxTbKeSK9tLRrwlHXqlhjGXiyWpm+JicnFuWq7U4Vxh6eb4cCWswA+qxyfWrvRownN/djil4XsXSJmIzZUUVVzhRGKnZo5MubanoXE4uO2FJd06fL3X9NaK9yqJnU7mhWbtqnCudXdG7x+zLX9jSuIOnXhGcXxPifKntT50YRMxks3LVFynm1RjDTso7nybbtquC4oVVs/HH3G2Lu9zbnJnwVefv+GJnmLerYqT51V96Rn0lKvPJ9/dHm9rbMG5k/jJ0oLxpTfUlh6SJu0sqeTrs5zEf22HJ+ZtpbJ1K735wTk3USUIpLFvQX9cTCbkzqhct6Batxzq9eG/Ly98U7ypdb9Vq1cMNObaX1Y7Ix6Ekug3xGEYOPXXz6pq3vlDEAAcxjjqW16ukljOWpaMp27dtWpwWMnb1IRS43vbSSKlM/wCUS9NepmbNVMbp9EwjmrfN6qE+mVOPrZY59O9wo0S/8E/17sha5iXc8N8dOmuPSnpPqjivSYzdpbqOT7054R+/JsmSsx7ajhKs3XkuKS0YY+Lx9LaMJuzOS7a5Ot0669fp5e7aIxSSSSSSwSSwSXIjU6ERg5AAAAAAAA13LGZ9tcYyit5qP6VNLRb+9DZ1YM2U3JhSvaBaua41T8vZqV/mNd08d60Ky4tGSjLpjLD0NmyLlMudc5PvU5YT+/P3YevkS6h8qhWXPvU2utLAz50b1abNynOmfKXShk+tj3qr/Cn7icYYVW6/hnylaim9UAdZwUk1JJp7U1in0BExE6pYytm5ZT+VQpfhjoezgZc+re0Tolif9Y9HFHNqyhsoU34yc/axJ59W9EaHYj/WPV65YvFZ286tOEWqbh3C7hYSqRi8MNm0imOdOCdIudBamqmMsNXi8MkZyW11goT0Kj/254Rlj93il0E1UTDGzplq7qicJ3SzBgtAAABoufmcUcHaUHi2/jpJ6lh/tp8vL1cuG63R3y5Gn6VE/wDlR4+3v5NDNzluAAADJ5t2u+3VvDlqxk/Fj3T9EWRVOES22KOfdpp+fprWQqPTAAAAAAAAAAAAAAAAAAAAAAADBZ78Cr/l9tA2WtpT5Q7PV4esJOWHn2YybnPd2+ChUcor6FT4xenWuhoxmimVm3pV63lV562yWm6CsPj6Ov61Oe38MtnWa5tbpXaOU/ip8v37voq7oNFLuKVVvklKEV1psdDO9nPKlHdTP9MBlfPO5rpwp4UYPaoNuTXI5+5IzptxCne067c1Rqj5e7WjNTcAAAHIG67m2TsZ1LiS1QW9w8eWDl1LD941XZ1YOlybbxqm5u1fv73qAaHZAAAAAAAAAAAAAAAAAAAAAAAGCz34FX/L7aBst7Snyh2erw9YSgsOA4AAAAAAAAAe1nbTrTjTprGc2oxXO/6DLWmmmapimnOViyPk+NtRp0Ya9Fa39ab1yfWVapxnF6Wxai1RFEPtMW0AAAAAAAAAAAAAAAAAAAAAAAYPPbgVf8vtoGy3tKXKHZ6vD1hKCw4IAAAAAAABzCDk0opttpJJYtt7EkBTMz82/wDxY77WS3+a2bd6i/or7z430eGvcrx1Q7ehaJ0Uc+van+mzGt0AAAAAAAAAAAAAAAAAAAAAAAAAx+Xsnu5oVKMWouejg2m1jGalr6sDKirCcWjSbM3bU0RP7mlWVMk17WWjXg48ktsZeLLY/BtLMTE5PPXbVdqcK4w9HwksAAAAAAPqsLCrcTUKMHOT5OJcsnsS52JmIzZUUVXKubRGMqPmzmtC0wqVMKlf630afNDHj5/UV67mOqHb0XQotf5Va6vTh7tiNa8AAAAAAAAAAAAAAAAAAAAAAAAAAB0rUYzi41IxlF6nGSUk1zpiJwY1UxVGFUYw1jKWY1vUxdCUqMnxfLh1PWus2xdnvULvJturXROH9x++LXLzMi7hjoKFRfdmovDnUsPWbIu0yo18n3qcsJ8fdhbnJlWnqqR0fxRfqZnExOSrXRVRtQ86VnObwisX4UvWTOpjTjVky1nmjeVdahGMfrSqQw/lbfoMJuUws0aHfryjzmPy2HJuYUI4O5qOX3Ka0V0yet9CRrm7uXbfJkZ3KvCPf/jbbKypUI6FGEYR5Ira+VvjfOzVMzObpW7dFuMKYwe5DMAAAAAAAAAAAAAAAAAAAAB//9k="/>
          <p:cNvSpPr>
            <a:spLocks noChangeAspect="1" noChangeArrowheads="1"/>
          </p:cNvSpPr>
          <p:nvPr/>
        </p:nvSpPr>
        <p:spPr bwMode="auto">
          <a:xfrm>
            <a:off x="120650" y="158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6" descr="data:image/jpeg;base64,/9j/4AAQSkZJRgABAQAAAQABAAD/2wCEAAkGBxAPEhAQDRMQERAQEBIRERARDQ8QFRAPFREWFhcUExUYIiggGBolHBQVITEjJSkrLjAuFyI0OD8vNygtLi0BCgoKDg0OGxAQGiwlICUtNywsLCwtLCwsLCwtNy0vLCwsLCwsLCwwNCwsLCwsLCwsLCwsLCwsLCwsLC0sLCwtLP/AABEIAL8BBwMBEQACEQEDEQH/xAAcAAEBAAIDAQEAAAAAAAAAAAAABwUGAQIDBAj/xABLEAACAQIBBQkKCwYGAwAAAAAAAQIDBBEFBhIhMQcTNEFRYYGRsyIzcXJzdKGxstEVIzI1QlJUYoKDlFOSk6LB0hYXJENjoxQl8P/EABoBAQACAwEAAAAAAAAAAAAAAAABBAIDBQb/xAA0EQEAAQICBQoGAgMBAAAAAAAAAQIDETEEITJRcQUSEzM0QYGRsdFSYXLB4fAUoSJC8SP/2gAMAwEAAhEDEQA/AM5PdAvV+x/hS/uLHR0uFHKF/wCXl+XX/MK9/wCD+FL+4dHSn+ff+Xl+T/MK9/4P4Uv7h0dJ/Pv/AC8vyf5hX3/B/Cl/cOjpP59/5eX5etrn9eynCL3nCU4xfxUtjkl9YTbpTTp96ZiNXl+VSK7tgAAAAAAAAAAAAAAAD5MpZSo20N8uJxpx4sdsnyRS1yfMiYiZya7l2i3GNU4NHytujvXGzpJL9pW14+CEXq6X0G2LW9zbnKM5W48Z9vy1i8zqvqvyq9RLkptUsP3MGZxTTHcp1aTeqzqnw1ejG1L6tL5dSrLxqs5etmWENU1VTnM+by3x8pLHB70co14d7q1YeJWnH1MjCGcV1RlM+cszYZ631HDGpvsV9GrBT/mWEvSYzRTLfRpl6nvx4/uLbsjboNCrhG6i6En9NPTpvwvbHqw5zXNqe5etcoUVaq4w9G40qkZpSg1KMlipRaaa5U1tNToRMTGMOwSAAAH5+qbWW3loydQkAAe9h32l5SHtITkyp2o4r4VHpgAAAAAAAAAAAAAADB505x07Cni8J1pp73Tx2/elyRXpM6aecraTpMWafn3QkeU8pVbqbq15Ocns5Ir6sVxIsRERqhwq66q6udVOMvkDEAAAAAABnM285q1jJaLc6Lfd0W9T5XH6svXxmNVMVN9jSK7M6styuZMyhSuaca1CWlCXXF8cZLiaK8xMThLu27lNynnU5PrIbAAB+f6m1lt5aMnQJAAH0WHfaXlIe0hOTKnajivZUemAAAAAAAAAAAAAAfLlO+hb0qlar8mnHF8rexRXO3gukmIxnBhcuRbpmqruRPK+Ual1VnWqvupvZxRjxRjzIsxGEYQ85crm5VNdWcviJYgAAAAAAAADY8ysvuzrJTfxFVqNRcUXxVOjj5vAjGunnQs6Lf6GvXlOfv8AvcsBWd8AAQCptZbeWjJ0CQAB9Fh32l5SHtITkmnajivRUenAAAAAAAAAAAAAAT3dRyo8aVrF6kt9qc71qC9p9RutR3uTyjdxmLccZ+37wT82uaAAAAAAAAAAHKAr2YWU3cWsVJ4zovepc6STi/3Wl4UyvcjCXc0G7z7WE5xq9v6bGYLgBAam1lx5WMnQhIAA97DvtLykPaQnJlRtRxXoqPTgAAAAAAAAAAAAAIlnPeb/AHVxU4nVlGPiw7iPoii1TGEQ83fr592qr5+mpiyWoAAAGADHwdZOEsedTvCGQAAAAN03L7vRr1aT2VaWl+KEtXonLqNd2NTocnV4XJp3x6f9U00OyAQGptZceVjJ1ISAAPex77S8pD2kJyZUbUcVdz2rSp2VedOUoSW94SjJxaxrQTwa17GV7e07mnTMWJmJwy9YSr4auvtFx+pq+8sYRucTpLnxT5z7nwzdfaLj9RV94wjcdJc+KfOfc+Gbr7RcfqKvvGEbjpLnxT5z7nwzdfaLj9RV94wjcdJc+KfOfdsmYOUq9S7jGrVrTjvc3ozrVJrHBcTZhciOat6DXXN7CapnV3zKmld20ey/la5jc3MY168YqvVSSr1UklUeCST1ItREYRqecu3K+kq/ynOe+d7H/DN19ouP1FX3k4RuYdJc+KfOfc+Gbr7RcfqKvvGEbjpLnxT5z7nwzdfaLj9RV94wjcdJc+KfOfc+Grr7RcfqavvGEbkTcufFPnPusdGu420ajeLjbqbbeOLVPHFlXveiirC3j8kOZbeajJwQkAAcpAU/NbMulShGpdwVStJJ6E1jClzaOyUuVvo5XpruTlDsaNoNNMc65GM7u6G2xoxS0VGKjyKKS6jU6GENUz0zYt50KtelCNKrShKo3CKipxisZKSWpvBPXtNtFc44KGmaLRNE10xhMa+KW4G5xgAAA9KFedNqVKUoSWyUJSi1jt1rWExMxricH1/DN19ouP1NX3jCNzLpLnxT5z7qTueXNSrbSlVnOpLf5LSnOU3hoQ1Yvi1mi7m6/J9UzanGZnX369yVVNrLDiRk6kJAAHvY99peUh7SE5MqNqOKsZ+8BuPyu2gV7e07en9RV4esJAWHCAAADaNznhkfJVPUjC5srmgdfHCVXK7uojnHwq684rdpItU5Q81e62rjPqxxLWAABKJWa9f/AK+ph9hl2DK0bXi9Dc7NP0/ZGWWXnwgAAGczKslWvKCksYwbqP8AAm1/NomNc4UrGiUc+9TE8fL8rGVnoQDHZx8EuvN63Zsyo2oaNK6ivhPoiTLTzrggAAAABUtzPgk/OJ+xA0Xc3Z5O6qePsmFTayw4sZOpCQAB72PfaXlIe0gyp2o4qvn5wGv+V20Cvb2nb0/qKvD1hISw4QAAAbPuc8Mj5Kp6kYXNlc0Dr44Sq5Xd1Es4+FXXnFbtJFqMoeavdbVxn1Y4lrAAAE5LLe/N9TzGXYMrxteL0F3s0/T9kaZYefAAADadzdpXevV8TU2+GJhc2VzQOu8J+ypb5HlXWiu7mMG+R5V1oGMPhzj4Jdeb1uzZlRtQ06V1FfCfREmWnnQgAAAABUdzPgk/OJ+xA0Xc3Z5N6qePsmNTayw4sZOhCQAB72PfaXlIe0h3MqdqOKsZ+cBr/ldtAr29p29P7PV4esJAWHCAAADaNznhkfJVPUjC5srmgdfHCVWK7uonnHwq684rdpItRlDzV7rauM+rGktYAAEonJZb35vqeYy7BlaNrxehu9mn6fsjbLLz7ggAAAkmInMw8HUMWPNp3HLs2chMSxqpjCdS15e4Hc+a1ezZUo2oel0nqK/pn0RVlp55wQAAAAAqO5pwSfl5+xA0Xc3Z5N6qePsmVXayw4kZOgSAAPew77S8pD2kROTKjajiq+ffAa/5XbQK9vadzT+z1eHrCQllwQAAA2fc64ZHydT1I13Nld0Dr44SqxXd1E84+FXXnFbtJFunKHmb3W1cZ9WOJawAABOSyXvzfU8xl2DK0bXi9Dd7NP0/ZG2WXngAAAAAD4/AIRVlK1Ze4Hc+bVezZVo2oej0nqK/pn0RZlp51wAAAAGAFR3NV/pJeXn7EDRdzdrk3qp4+yY1drN7iRk6hIAA97HvtLykPaRE5MqNqOKrZ98Br/ldtAr29p3NP7PV4esJEWXBAAADZ9zrhkfJ1PUjXc2VzQOvjhKqld3kUzj4VdecVu0kW6coeZvdbVxn1Y4lrAAAE5LHe/N9TzGXYMrRteL0N3s0/T9kcZZeeAAAAAA4fH4BCKspWrL3A7nzar2bKtG1D0ek9RX9M+iLstPOuAAADY8wrKlXuZQrwjUjvM2oy2aSlDX1YmFyZiNS3oVFNd3m1RjGHsoP+F7H7PT6maOfVvdb+JY+GGQsbGlQi4UIKEW9LRjs0mksfQiJmZzbrdum3GFMYIdV2stvLxk6hIAA97HvlLykPaRE5MqNqOKq598Br/ldtAr29p3NP7PV4esJGWXBAAADZtzvhkfJ1PUjXc2VzQOvjhKqld3kVzi4VdecVe0kW6coeZvdbXxn1Y4lrAAAE5LFe/N9TzGXYMrRteL0F3s0/T9kdZZefAAAAAA4aEIqylbMrw0rWuuW3qLrpsq07UPS34xs1R8p9EUZaebgAAAM5mVdqjeUW3gpt03+NNL+bRMa4xpWdEr5l6mfDz/KvlV6EAg9Tay48pGToEgAD3se+UvKQ9pETkyo2o4qrn1wGv8AldtAr29p3NP7PV4esJGWXBAAADM5o5QjbXVKpUeEO6hKX1VKLWL5scDGuMYWNFuRbuxVOSsVspUIQdSVWmoJY6WnFprmw29BWwnJ3qrtFNPOmYwRbKFxvtWrU2b5UnPDk0pOWHpLcaoebqq51U1b5mfN84YgAACcljvfm+p5jLsGVo2/F6C72afp+yOssvPuAAAD68mZOq3M97oR0p6LlhpRj3Kwx1yaXGiJmIzZ27dVyebTGMsr/gu//Y/91H+4x6Sne3/wr/w/3Hu5/wAF3/7H/uo/3E9JTvRVoWkTGz/ce6rSp4w0Xxx0X0rAqvQYYxghdWm4txlti3F+FamXHloiY1S6AAAHKeGtAUbN/PmlKEYXrcKiWG+KLcZ87w1xfo9Roqtz3Ovo/KFOGF3VO/e2Onl6zlsuKHTWgvQ2Ycyrct/yrHxx5wjNVa2WnnIydAkAAe1l3yn5SHtITkyo2o4qxnrDSsrhLiUH0RqRf9Ctb2od3ToxsVfvfCQllwAAAAAMAjACQAAABErFe/N9TzGXYMrRt+L0N3s0/T9keZZefcAAAG1bnHC/yZ+uJru7K7yf1/hP2VAru6AAJBnlZbzd1lhqnLfY86nrf82kugtUTjS87pdHMvVR4+f5xYQyVwAAAAetB6yYY1ZPfK1HQr1ofUq1I9U2jGMmy5HNrqj5y+QliAAOYvDWtq1rwhE/Ja72krm3nGOytRai/GhqfpRVjVL01ynpbUxHfHqiklht1PkLTzMOAkAAAAAAAAAAiclhvfm+p5jLsGVo2/F6G52afp+yPMsvPASAANs3Nqbd1J8UaE/TOCNd3ZXuTo/9vD2U0ru4AANP3RckurSjcQWMqOqfPSfH0P0Nm21Vrwc3lGzzqYuR3Z8Px7psb3HAAAAB6UdohjVk2TdCye6Vy6iXc14qS8eKUZL1P8RrtzjSvafb5l7Hfr92rmxTAAHIFYzHv1WtKa+lR+KkuaPyf5Wupla5GFTvaBc59mI3avb+mk58ZJdvcSnFfF126kXxKT+XHrePgkjdbqxhy9Ns9Hdme6dfu1wzVQAAAAAAAAACJyWG9+b6nmUuwZWjb8XobvZp+n7I+yy884CQABSdzfJzp0p15LB1mlDxI46+lt/uo0XZ14Ovybawpmue/wBIbganTAAHWcFJNSSaaaaaxTT2phExjGEpPnbm/KzqYxxdCo3vctui9uhJ8q4uVdJZoq50PP6Vo02atWzOXswBmrAAAB6UNpMMasleznyOryhKnqVSPdUpPimlsfM9np4irRVzZej0qx01vDv7kir0ZU5ShNOMotqUXqaa4mWXnpiYnCc3mEAADO5oZb/8OtjPvVTCNRci4p9GL6GzGunnQs6LpHQ3MZynP38FLytk2le0XTng4ySlCccHoyw1Ti+Pb0plemqaZdu9Zpv0YT4T90myxkmraVHTrLD6sl8mceWL/wDsCzExMYw8/dtVWqubV/18BLWAAAAAAAAATksN6v8AQVPMpdgytG34vQ3ezT9P2R9ll55wAwA2HNbNmpdyU5pwt0+6ns08Pow5fDxeEwrr5q3ouizenGdnfv4KpSpxhGMYJRjFKMUtSUUsEkVnfiIpjCHcJAAADwvLSnWhKnWipQksHF+tcj5yYnDXDCuimunm1RqTPOTNKrat1KWNSht0ksZQX30uLnWrwFiiuKnD0nQ67OuNdPpx92tYGamAAPShtJhFWS6FJ6xr+c+bFO8WnBqnXSwU8NU0tinh69q59hsor5qlpWh03v8AKNVXrxTbKeSK9tLRrwlHXqlhjGXiyWpm+JicnFuWq7U4Vxh6eb4cCWswA+qxyfWrvRownN/djil4XsXSJmIzZUUVVzhRGKnZo5MubanoXE4uO2FJd06fL3X9NaK9yqJnU7mhWbtqnCudXdG7x+zLX9jSuIOnXhGcXxPifKntT50YRMxks3LVFynm1RjDTso7nybbtquC4oVVs/HH3G2Lu9zbnJnwVefv+GJnmLerYqT51V96Rn0lKvPJ9/dHm9rbMG5k/jJ0oLxpTfUlh6SJu0sqeTrs5zEf22HJ+ZtpbJ1K735wTk3USUIpLFvQX9cTCbkzqhct6Batxzq9eG/Ly98U7ypdb9Vq1cMNObaX1Y7Ix6Ekug3xGEYOPXXz6pq3vlDEAAcxjjqW16ukljOWpaMp27dtWpwWMnb1IRS43vbSSKlM/wCUS9NepmbNVMbp9EwjmrfN6qE+mVOPrZY59O9wo0S/8E/17sha5iXc8N8dOmuPSnpPqjivSYzdpbqOT7054R+/JsmSsx7ajhKs3XkuKS0YY+Lx9LaMJuzOS7a5Ot0669fp5e7aIxSSSSSSwSSwSXIjU6ERg5AAAAAAAA13LGZ9tcYyit5qP6VNLRb+9DZ1YM2U3JhSvaBaua41T8vZqV/mNd08d60Ky4tGSjLpjLD0NmyLlMudc5PvU5YT+/P3YevkS6h8qhWXPvU2utLAz50b1abNynOmfKXShk+tj3qr/Cn7icYYVW6/hnylaim9UAdZwUk1JJp7U1in0BExE6pYytm5ZT+VQpfhjoezgZc+re0Tolif9Y9HFHNqyhsoU34yc/axJ59W9EaHYj/WPV65YvFZ286tOEWqbh3C7hYSqRi8MNm0imOdOCdIudBamqmMsNXi8MkZyW11goT0Kj/254Rlj93il0E1UTDGzplq7qicJ3SzBgtAAABoufmcUcHaUHi2/jpJ6lh/tp8vL1cuG63R3y5Gn6VE/wDlR4+3v5NDNzluAAADJ5t2u+3VvDlqxk/Fj3T9EWRVOES22KOfdpp+fprWQqPTAAAAAAAAAAAAAAAAAAAAAAADBZ78Cr/l9tA2WtpT5Q7PV4esJOWHn2YybnPd2+ChUcor6FT4xenWuhoxmimVm3pV63lV562yWm6CsPj6Ov61Oe38MtnWa5tbpXaOU/ip8v37voq7oNFLuKVVvklKEV1psdDO9nPKlHdTP9MBlfPO5rpwp4UYPaoNuTXI5+5IzptxCne067c1Rqj5e7WjNTcAAAHIG67m2TsZ1LiS1QW9w8eWDl1LD941XZ1YOlybbxqm5u1fv73qAaHZAAAAAAAAAAAAAAAAAAAAAAAGCz34FX/L7aBst7Snyh2erw9YSgsOA4AAAAAAAAAe1nbTrTjTprGc2oxXO/6DLWmmmapimnOViyPk+NtRp0Ya9Fa39ab1yfWVapxnF6Wxai1RFEPtMW0AAAAAAAAAAAAAAAAAAAAAAAYPPbgVf8vtoGy3tKXKHZ6vD1hKCw4IAAAAAAABzCDk0opttpJJYtt7EkBTMz82/wDxY77WS3+a2bd6i/or7z430eGvcrx1Q7ehaJ0Uc+van+mzGt0AAAAAAAAAAAAAAAAAAAAAAAAAx+Xsnu5oVKMWouejg2m1jGalr6sDKirCcWjSbM3bU0RP7mlWVMk17WWjXg48ktsZeLLY/BtLMTE5PPXbVdqcK4w9HwksAAAAAAPqsLCrcTUKMHOT5OJcsnsS52JmIzZUUVXKubRGMqPmzmtC0wqVMKlf630afNDHj5/UV67mOqHb0XQotf5Va6vTh7tiNa8AAAAAAAAAAAAAAAAAAAAAAAAAAB0rUYzi41IxlF6nGSUk1zpiJwY1UxVGFUYw1jKWY1vUxdCUqMnxfLh1PWus2xdnvULvJturXROH9x++LXLzMi7hjoKFRfdmovDnUsPWbIu0yo18n3qcsJ8fdhbnJlWnqqR0fxRfqZnExOSrXRVRtQ86VnObwisX4UvWTOpjTjVky1nmjeVdahGMfrSqQw/lbfoMJuUws0aHfryjzmPy2HJuYUI4O5qOX3Ka0V0yet9CRrm7uXbfJkZ3KvCPf/jbbKypUI6FGEYR5Ira+VvjfOzVMzObpW7dFuMKYwe5DMAAAAAAAAAAAAAAAAAAAAB//9k="/>
          <p:cNvSpPr>
            <a:spLocks noChangeAspect="1" noChangeArrowheads="1"/>
          </p:cNvSpPr>
          <p:nvPr/>
        </p:nvSpPr>
        <p:spPr bwMode="auto">
          <a:xfrm>
            <a:off x="273050" y="1682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8" descr="data:image/jpeg;base64,/9j/4AAQSkZJRgABAQAAAQABAAD/2wCEAAkGBxEQEhAUEBQRFBIUEhUUEBAUFRUWEBYUFBcWFxcVFhQYHC0gHhomHRQUITIkJSkrLi4uGCIzODMtNygtLy4BCgoKDg0OGhAQGywkICQrLCw3NyssLCwsLCwsLC0sLC4sLCwsLCwtLCwsLCwsLCwsLCwsLCwsLCwsLCwsLCwsLP/AABEIAIQA5wMBEQACEQEDEQH/xAAcAAEAAgMBAQEAAAAAAAAAAAAAAQcEBQYCAwj/xABFEAABAwIABwsHCwMFAAAAAAABAAIDBBEFBgcSITFBEzRRYXFyc4GRsbIiMjOTocLRFSMkUlNUYnSSwcMUgoNCQ6Kj8f/EABoBAQACAwEAAAAAAAAAAAAAAAABBAMFBgL/xAA1EQEAAgEBBQYEBQQCAwAAAAAAAQIDEQQFEjEyIUFRcYGxMzSRwRMUIlJhQnKh0fDxI2Lh/9oADAMBAAIRAxEAPwC8UBBDnAAk6ABck6gEJ7O1h/K9N9vB6xnxU8M+DH+Nj/dH1g+Vqb7eD1jPinDPgfjY/wB0fU+V6b7eD1jPinDPgfjY/wB0fWGYCoZEoCAgICAgICAgi6D41FZFH6R7Gc5wb3lNJl4tkpXqmIYny/SXtu8N+eF64LeDF+aw66cUfVl09bFJ6N7H81zXdxUaTDLXJS3TMS+6h7EBAQEBAQEEFBKAgxML+gn6GTwlTXnDHm+Hbyn2UEAtg4mU2TRGqHBEw/QsXmt5B3LXO5ryh7RIgICAgICAg1uHcNRUcefMeJjB5zjwAL1Ws2nSGDaNopgrxW/7VfhvHSqqCQ1xhj2MjPldb9Z9itVw1hze0byzZeyJ4Y/j/bmjpJJvc6ztWXRQ11LJogAtp27DtTROro8CY51VMQC4zM2skJJtxP1j2rFbFWV/Z95ZsU9s6x/P+1oYBw7DWR58R0jz2Hz2nj4uNVbVms9ro9n2mmevFVswvKwlAQEBAQQUEoCDEwv6CfoZPCVNecMeb4dvKfZQbVsHESlSPLlCYfoWLUOQdy1zua8oe0SICAgICAg+VTO2NrnvNmtaXOPAALlNNXm9orWbTyhSGMWGH1szpHaBqjZ9Vg1D9yr1KxWNHH7VtNs+Sbz6NasisICAgIM/AeFn0czJY9hs9uxzdrSvF6xaNFjZtothvF6rxpKhsrGPYbte0OaeIhUNNHY0vF6xaOUvsj0ICAgIIKCUBBiYX9BP0MnhKmvOGPN8O3lPsoNq2DiJSpHlyhMP0LFqHIO5a53NeUPaJEBAQEBAQcnlKrjHSFo1yvDOoeUe72rLhjWzW71y8GDTxnRUgVxyyVIhQF0BBKkFAtTJjXGSmfGdcUlhzHi49ucqmeNLaum3Rlm2Gaz3S7JYW1EBAQEEFBKAgxML+gn6GTwlTXnDHm+Hbyn2UG1bBxEpUjy5QmFxY91D46Fzo3OY4Ojs5pIdpI2hUsURN+11e8LWrs0zWdOXJVww7V/eJ/WP+Kt8FfBzf5rN++frJ8u1n3if1j/inBXwPzWb98/WW5xOwvUyVtO180rmlzrtc9xafIdrBKx5axFZ7FzYNoy32isWtMx298+Du8fah8VHI6NzmODmWc0kO0uF9IWDFETZuN5XtTZ5ms6T2cvNVYw7WfeJ/WP+Kt8FfBzf5rN++31k+Xaz7xP6x/xTgr4H5rN++frLbYqYXqX1lM180zml+lpe4tOg6wSvGSkRWexa2LaMts9Ym0z2+Mt7lZfppG8UpP8A1gfusez963vqeiPP7K8CstElSN9iZgIVs+a++5sGdJbWRfQ2+y6xZb8ML2wbLG0ZNJ5RzW5BgyBjc1kUbW2tYNFuvRpVPil1NcOOsaRWNPJVuUagigqgImhgfE17mjQ3OLng2GzzQrWGZmva5vemKmPPHDGmsa/5ly6ztYIPrBVSR33N72X15ri2/LZeZiJe6ZLU6ZmPJ1uTetlfWWfJI4bk82c9xF/J2ErDmrEVbXdWS9s+kzM9k/ZaiqujEBAQQUEoCDEwv6CfoZPCVNecMeb4dvKfZQbVsHESlSPLlCYW7lD3g/nReIKni63U7y+Vn091RhXHKpUjeYkb+pec7wOWLN0Svbt+Zr6+yw8o28ZeczxBVsPW3m9flp8491PhXXKpUjcYnb9pek90rHl6ZXN3/MU83TZWfPpebJ3sWHZ+9sN9c6ev2cAFZaMQd3k0whBB/U7tIxhJjzc42uBn3t7FXzRM6aN1ujLjxxfjmI5O6gw9Svc1rJonOcbNaHC5PAFg4LR3N1XacNp0i0K9yq76j/Lt8cqsYOlod8fHr/b95carDUiAg6vJjv3/ABP72rBn6W13R8f0n7LbVR0wgICCCglAQYmF/QT9DJ4SprzhjzfDt5T7KDatg4iUqR5coTC3coe8H86LxBU8XW6neXys+nuqMK45VKkbzEjf1LzneByxZuiV7dvzNfX2WHlG3jLzmeIKth6283r8tPnHup8K65VKkbjE7ftL0nulY8vTK5u/5inm6bKz59LzZO9iw7P3thvrqp6uACstGlSIUDbYpD6bSdK1eMnTK3sPx6ebe5Vd9R/l2+ORY8HSt74+PX+37y41WGpEBB1eTHfv+J/e1YM/S2u6Pj+k/ZbaqOmEBAQQUEoCDEwv6CfoZPCVNecMeb4dvKfZQbVsHESlSPLlCYW7lD3g/nReIKni63U7y+Vn091RhXHKpUjeYkb+pec7wOWLN0Svbt+Zr6+yw8o28ZeczxBVsPW3m9flp8491PhXXKpUjcYnb9pek90rHl6ZXN3/ADFPN02Vnz6Xmyd7Fh2fvbDfXVT1cAFZaNKkEG1xS37SdK1Y8nTK3sPx6ebe5Vh9KiOz+nb7HyfELHg6VzfMf+evl95carDUCDsMQ8XaetbOZs4ljmZua4jQQfgq+a81mNG23bsmLPW037ncYGxTpqSTdIQ/OzS3S4kWNr6OpYLZLWjSW5wbDiw24qc2+XhcEBAQQUEoCDEwv6CfoZPCVNecMeb4dvKfZQbVsHESlSPLlCYW7lD3g/nReIKni63U7y+Vn091RhXHKpUjcYnStZW0xcbDPtc6rua5o9pCx5Y1rK5u+0V2isysTKTKBRPBIBc9gaOEg37gVWw9Te71tEbPMT4x7qiCuOWSpG4xO37S9J7pWPL0yubv+Yp5unyst8qkP4ZR2FnxCw7P3tjvqO2k+f2V+FZaJKkZVFg2afO3GN8mbbOzRe172v2HsXmbRHNlx4MmTojVu8WMB1TKumc+GVrWyNLnFpsBwlY8l6zWe1d2TZc1c1Zms823ysw2kpn8LHt/SQfeXjBPZKzvmv66W/if+f5cGrLSCDpMRMOtpJzumiKQBrnfVIOhxHBrWHLSbR2Nju3aq4Mn6uUrYp8IwyW3OSN19Wa5pPZdVNJh01cuO3TaPqylDIICAggoJQEGPhCPOilaNbo3gdbSFMc3jLGtJj+JUA1bBw8pUiHKJIW7j0N0wc8t1Wjf1XBVLF2XdVvD9WyTMfwqIK65VKkQQoH0klc62c5zrCzbkmw4BfUmkPU2mecvCl5EG4xO37S9J7pWPL0yubv+Yp5uqyta6Pkm/iWHZ+9st9/0ev2V4FZaEKCxsk2qr5Yu6RVto7m/3L039PusFV28cllJweZaQubrhcH/ANup3ffqWXDOlmt3ri48Gvh2qmV1ywgKBscWB9MpfzEfiC836ZWNl+PT+6PdeqoOzEBAQQUEoCCCgo7GfBZpamWO3k5xdHwZjtI7NXUr1LcVdXHbXg/BzTXu7vJq1kVUKBbeLcza/BxiJ8oRmF/CCB5Lrclj1KneOC+rqdkvG07LwTz00VTUU7onuY8WcwlrhwEK5E6xq5i9Jpaazzh81LyICAgINxidv2l6T3SseXplc3f8xTzdVla10fJN/EsOz97Zb7/o9fsrwKy0IUFp5LqB0dPJI7Rurxmj8LBYHrJd2KpntrbR0u6MU1xTee+fZ2iwts8yRhwLXAEEEOB1EHQQURMRMaSpfG3F91FLYXMTyTE/i+qeMK7jvxQ5LbtknZ7/APrPJo1lUhBssV990v5iPxBeL9MrGyfHp5x7r0VB2YgICCCglAQEHP434tNroxazZWX3N/e13EfYveO/DKltuxxtFfCY5Kkwng6WmfmTMLHbL6jxtOohXK2ieTlsuC+K3DeNGHdemJ0eI9RVRz3po3SNNmyt1MI43agRsWLLFZjtbDd1s1cmuONfF2uOeKArPnYbNnA8oHzXjYCdjhwrBjycPZPJt9v2D8f9dOy3uq+uopYHZszHMdwOFr8h2jkVuLRPJzmTFfHOl40Y91LHo2UmBJ2QmaRhZGCAC/yXOJ1ZrTpXnjiZ0hYnZslcf4lo0j+WuXpXFI3WJbb11LzyexrisWXolc3fGu0VdPlaOmj5Jv4li2fvbLfX9Hr9nA08LpCGxtc92xrQXO7ArOsQ0daWtOlY1dji7iDLKQ6q+bj17n/uO4vwj2rBfNEcm22XdV7TxZeyPDvn/SzoIWsa1rQA1oAaBqAGoBVXRVrFY0h9ESIMXCFBHURujlaHMdrB7wdh41MTMTrDHkxVyV4bxrCtMPYgTQkup/no9ebqlHFb/V1dis0zRPNz+07qyU7cfbH+XISsLCWuBa4a2uBBHKCs8S1M1mJ0mGwxYP0ul/MR+ILxfpln2X49P7o916Ki7MQEBBBQSgICAg+c0DXiz2tc3a1wBb2FEWrFuyYYIxfpAb7hDfmN7l647eLDGzYYnXhj6Plh7CjKGESZl2BzWljbNsHHWBq6tCVrxTo87Tmrs+Pi07H0wRh6mqgNxkaTtYdDx/adKWpNeacO04s0folsJGBws4AjgOkdi8s81ieb4spoo7uDI2WFy4Na2w2klNZl5ilK9sREKsx9xjFXI2OI3hjJs767zoLuQahynhVvFj4Y1lzW8tsjNbhp0x/mXKLM1iVI6vJrSZ9YHbI2Od1nyR3lYM9v0tpunHxZ+Lwhas1LG+2exjras5oNr8F+QKpEz3OltStuqNXuOINFmgAcAFgiYrEcnoBEpQEBAQEHwqKSOQWkYx4/E0O70iZh5tStuqNWJFgGlY4ObBEHAhzXBoBBGkEL1x28WKNmwxOsVjVsl5ZxAQEEFBKAgICAgIOUymbyd0jO9ZcPW1u9fl584VGFc0cvro29LjPWxCzJ5LfiId7XAleJxVnuWqbdtFY0i8+/ux8I4ZqajRNK94+qTZv6RoUxSscoY8u1ZcvZe2rAXpgSpEFQLaycYIMFOZHiz5iHW2hg80ddyesKnmtrbR1G69nnFi4p529u51qxNmICAgICAgICAgICAgIIKCUBAQEBAQcplM3k7pGd6y4etrd6/Lz5wqMK45ZKkEBAQddiRik6pc2acEQNN2tI9IR7veq+XLp2Q2279gnLP4l4/T7/APxazRZVXSQ9IkQEBAQEBAQEBAQEBAQQUEoCAgICAgx66jjnYWSta9h1tIuP/VMTMTrDxkx1yV4bRrDgsM5N9bqR4t9lJ+z/AIjrWeufxaXPufvxT6T/ALcpW4tVkXnwScrWl4/43WaMlZ72rybFnpzrPp2sAUMt7bnJfgzHX7LL1xQw/g5NdOGfo2VDirWzEZsL2jhkGYB+rSvE5Kx3rGPYM9+VdPPsdpgDJ5HEQ+qcJXaxGBaIcp1u9nWsF80zybfZt01pPFlnX+O527G2sBoA0ADVZYW3iNHpEiAgICAgICAgICAgICAggoJQEBAQEBAQEEIgsoSIJCkEBAQEBAQEBAQEBAQEBAQEEFB//9k="/>
          <p:cNvSpPr>
            <a:spLocks noChangeAspect="1" noChangeArrowheads="1"/>
          </p:cNvSpPr>
          <p:nvPr/>
        </p:nvSpPr>
        <p:spPr bwMode="auto">
          <a:xfrm>
            <a:off x="425450" y="3206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10" descr="data:image/jpeg;base64,/9j/4AAQSkZJRgABAQAAAQABAAD/2wCEAAkGBxEQEhAUEBQRFBIUEhUUEBAUFRUWEBYUFBcWFxcVFhQYHC0gHhomHRQUITIkJSkrLi4uGCIzODMtNygtLy4BCgoKDg0OGhAQGywkICQrLCw3NyssLCwsLCwsLC0sLC4sLCwsLCwtLCwsLCwsLCwsLCwsLCwsLCwsLCwsLCwsLP/AABEIAIQA5wMBEQACEQEDEQH/xAAcAAEAAgMBAQEAAAAAAAAAAAAAAQcEBQYCAwj/xABFEAABAwIABwsHCwMFAAAAAAABAAIDBBEFBgcSITFBEzRRYXFyc4GRsbIiMjOTocLRFSMkUlNUYnSSwcMUgoNCQ6Kj8f/EABoBAQACAwEAAAAAAAAAAAAAAAABBAMFBgL/xAA1EQEAAgEBBQYEBQQCAwAAAAAAAQIDEQQFEjEyIUFRcYGxMzSRwRMUIlJhQnKh0fDxI2Lh/9oADAMBAAIRAxEAPwC8UBBDnAAk6ABck6gEJ7O1h/K9N9vB6xnxU8M+DH+Nj/dH1g+Vqb7eD1jPinDPgfjY/wB0fU+V6b7eD1jPinDPgfjY/wB0fWGYCoZEoCAgICAgICAgi6D41FZFH6R7Gc5wb3lNJl4tkpXqmIYny/SXtu8N+eF64LeDF+aw66cUfVl09bFJ6N7H81zXdxUaTDLXJS3TMS+6h7EBAQEBAQEEFBKAgxML+gn6GTwlTXnDHm+Hbyn2UEAtg4mU2TRGqHBEw/QsXmt5B3LXO5ryh7RIgICAgICAg1uHcNRUcefMeJjB5zjwAL1Ws2nSGDaNopgrxW/7VfhvHSqqCQ1xhj2MjPldb9Z9itVw1hze0byzZeyJ4Y/j/bmjpJJvc6ztWXRQ11LJogAtp27DtTROro8CY51VMQC4zM2skJJtxP1j2rFbFWV/Z95ZsU9s6x/P+1oYBw7DWR58R0jz2Hz2nj4uNVbVms9ro9n2mmevFVswvKwlAQEBAQQUEoCDEwv6CfoZPCVNecMeb4dvKfZQbVsHESlSPLlCYfoWLUOQdy1zua8oe0SICAgICAg+VTO2NrnvNmtaXOPAALlNNXm9orWbTyhSGMWGH1szpHaBqjZ9Vg1D9yr1KxWNHH7VtNs+Sbz6NasisICAgIM/AeFn0czJY9hs9uxzdrSvF6xaNFjZtothvF6rxpKhsrGPYbte0OaeIhUNNHY0vF6xaOUvsj0ICAgIIKCUBBiYX9BP0MnhKmvOGPN8O3lPsoNq2DiJSpHlyhMP0LFqHIO5a53NeUPaJEBAQEBAQcnlKrjHSFo1yvDOoeUe72rLhjWzW71y8GDTxnRUgVxyyVIhQF0BBKkFAtTJjXGSmfGdcUlhzHi49ucqmeNLaum3Rlm2Gaz3S7JYW1EBAQEEFBKAgxML+gn6GTwlTXnDHm+Hbyn2UG1bBxEpUjy5QmFxY91D46Fzo3OY4Ojs5pIdpI2hUsURN+11e8LWrs0zWdOXJVww7V/eJ/WP+Kt8FfBzf5rN++frJ8u1n3if1j/inBXwPzWb98/WW5xOwvUyVtO180rmlzrtc9xafIdrBKx5axFZ7FzYNoy32isWtMx298+Du8fah8VHI6NzmODmWc0kO0uF9IWDFETZuN5XtTZ5ms6T2cvNVYw7WfeJ/WP+Kt8FfBzf5rN++31k+Xaz7xP6x/xTgr4H5rN++frLbYqYXqX1lM180zml+lpe4tOg6wSvGSkRWexa2LaMts9Ym0z2+Mt7lZfppG8UpP8A1gfusez963vqeiPP7K8CstElSN9iZgIVs+a++5sGdJbWRfQ2+y6xZb8ML2wbLG0ZNJ5RzW5BgyBjc1kUbW2tYNFuvRpVPil1NcOOsaRWNPJVuUagigqgImhgfE17mjQ3OLng2GzzQrWGZmva5vemKmPPHDGmsa/5ly6ztYIPrBVSR33N72X15ri2/LZeZiJe6ZLU6ZmPJ1uTetlfWWfJI4bk82c9xF/J2ErDmrEVbXdWS9s+kzM9k/ZaiqujEBAQQUEoCDEwv6CfoZPCVNecMeb4dvKfZQbVsHESlSPLlCYW7lD3g/nReIKni63U7y+Vn091RhXHKpUjeYkb+pec7wOWLN0Svbt+Zr6+yw8o28ZeczxBVsPW3m9flp8491PhXXKpUjcYnb9pek90rHl6ZXN3/MU83TZWfPpebJ3sWHZ+9sN9c6ev2cAFZaMQd3k0whBB/U7tIxhJjzc42uBn3t7FXzRM6aN1ujLjxxfjmI5O6gw9Svc1rJonOcbNaHC5PAFg4LR3N1XacNp0i0K9yq76j/Lt8cqsYOlod8fHr/b95carDUiAg6vJjv3/ABP72rBn6W13R8f0n7LbVR0wgICCCglAQYmF/QT9DJ4SprzhjzfDt5T7KDatg4iUqR5coTC3coe8H86LxBU8XW6neXys+nuqMK45VKkbzEjf1LzneByxZuiV7dvzNfX2WHlG3jLzmeIKth6283r8tPnHup8K65VKkbjE7ftL0nulY8vTK5u/5inm6bKz59LzZO9iw7P3thvrqp6uACstGlSIUDbYpD6bSdK1eMnTK3sPx6ebe5Vd9R/l2+ORY8HSt74+PX+37y41WGpEBB1eTHfv+J/e1YM/S2u6Pj+k/ZbaqOmEBAQQUEoCDEwv6CfoZPCVNecMeb4dvKfZQbVsHESlSPLlCYW7lD3g/nReIKni63U7y+Vn091RhXHKpUjeYkb+pec7wOWLN0Svbt+Zr6+yw8o28ZeczxBVsPW3m9flp8491PhXXKpUjcYnb9pek90rHl6ZXN3/ADFPN02Vnz6Xmyd7Fh2fvbDfXVT1cAFZaNKkEG1xS37SdK1Y8nTK3sPx6ebe5Vh9KiOz+nb7HyfELHg6VzfMf+evl95carDUCDsMQ8XaetbOZs4ljmZua4jQQfgq+a81mNG23bsmLPW037ncYGxTpqSTdIQ/OzS3S4kWNr6OpYLZLWjSW5wbDiw24qc2+XhcEBAQQUEoCDEwv6CfoZPCVNecMeb4dvKfZQbVsHESlSPLlCYW7lD3g/nReIKni63U7y+Vn091RhXHKpUjcYnStZW0xcbDPtc6rua5o9pCx5Y1rK5u+0V2isysTKTKBRPBIBc9gaOEg37gVWw9Te71tEbPMT4x7qiCuOWSpG4xO37S9J7pWPL0yubv+Yp5unyst8qkP4ZR2FnxCw7P3tjvqO2k+f2V+FZaJKkZVFg2afO3GN8mbbOzRe172v2HsXmbRHNlx4MmTojVu8WMB1TKumc+GVrWyNLnFpsBwlY8l6zWe1d2TZc1c1Zms823ysw2kpn8LHt/SQfeXjBPZKzvmv66W/if+f5cGrLSCDpMRMOtpJzumiKQBrnfVIOhxHBrWHLSbR2Nju3aq4Mn6uUrYp8IwyW3OSN19Wa5pPZdVNJh01cuO3TaPqylDIICAggoJQEGPhCPOilaNbo3gdbSFMc3jLGtJj+JUA1bBw8pUiHKJIW7j0N0wc8t1Wjf1XBVLF2XdVvD9WyTMfwqIK65VKkQQoH0klc62c5zrCzbkmw4BfUmkPU2mecvCl5EG4xO37S9J7pWPL0yubv+Yp5uqyta6Pkm/iWHZ+9st9/0ev2V4FZaEKCxsk2qr5Yu6RVto7m/3L039PusFV28cllJweZaQubrhcH/ANup3ffqWXDOlmt3ri48Gvh2qmV1ywgKBscWB9MpfzEfiC836ZWNl+PT+6PdeqoOzEBAQQUEoCCCgo7GfBZpamWO3k5xdHwZjtI7NXUr1LcVdXHbXg/BzTXu7vJq1kVUKBbeLcza/BxiJ8oRmF/CCB5Lrclj1KneOC+rqdkvG07LwTz00VTUU7onuY8WcwlrhwEK5E6xq5i9Jpaazzh81LyICAgINxidv2l6T3SseXplc3f8xTzdVla10fJN/EsOz97Zb7/o9fsrwKy0IUFp5LqB0dPJI7Rurxmj8LBYHrJd2KpntrbR0u6MU1xTee+fZ2iwts8yRhwLXAEEEOB1EHQQURMRMaSpfG3F91FLYXMTyTE/i+qeMK7jvxQ5LbtknZ7/APrPJo1lUhBssV990v5iPxBeL9MrGyfHp5x7r0VB2YgICCCglAQEHP434tNroxazZWX3N/e13EfYveO/DKltuxxtFfCY5Kkwng6WmfmTMLHbL6jxtOohXK2ieTlsuC+K3DeNGHdemJ0eI9RVRz3po3SNNmyt1MI43agRsWLLFZjtbDd1s1cmuONfF2uOeKArPnYbNnA8oHzXjYCdjhwrBjycPZPJt9v2D8f9dOy3uq+uopYHZszHMdwOFr8h2jkVuLRPJzmTFfHOl40Y91LHo2UmBJ2QmaRhZGCAC/yXOJ1ZrTpXnjiZ0hYnZslcf4lo0j+WuXpXFI3WJbb11LzyexrisWXolc3fGu0VdPlaOmj5Jv4li2fvbLfX9Hr9nA08LpCGxtc92xrQXO7ArOsQ0daWtOlY1dji7iDLKQ6q+bj17n/uO4vwj2rBfNEcm22XdV7TxZeyPDvn/SzoIWsa1rQA1oAaBqAGoBVXRVrFY0h9ESIMXCFBHURujlaHMdrB7wdh41MTMTrDHkxVyV4bxrCtMPYgTQkup/no9ebqlHFb/V1dis0zRPNz+07qyU7cfbH+XISsLCWuBa4a2uBBHKCs8S1M1mJ0mGwxYP0ul/MR+ILxfpln2X49P7o916Ki7MQEBBBQSgICAg+c0DXiz2tc3a1wBb2FEWrFuyYYIxfpAb7hDfmN7l647eLDGzYYnXhj6Plh7CjKGESZl2BzWljbNsHHWBq6tCVrxTo87Tmrs+Pi07H0wRh6mqgNxkaTtYdDx/adKWpNeacO04s0folsJGBws4AjgOkdi8s81ieb4spoo7uDI2WFy4Na2w2klNZl5ilK9sREKsx9xjFXI2OI3hjJs767zoLuQahynhVvFj4Y1lzW8tsjNbhp0x/mXKLM1iVI6vJrSZ9YHbI2Od1nyR3lYM9v0tpunHxZ+Lwhas1LG+2exjras5oNr8F+QKpEz3OltStuqNXuOINFmgAcAFgiYrEcnoBEpQEBAQEHwqKSOQWkYx4/E0O70iZh5tStuqNWJFgGlY4ObBEHAhzXBoBBGkEL1x28WKNmwxOsVjVsl5ZxAQEEFBKAgICAgIOUymbyd0jO9ZcPW1u9fl584VGFc0cvro29LjPWxCzJ5LfiId7XAleJxVnuWqbdtFY0i8+/ux8I4ZqajRNK94+qTZv6RoUxSscoY8u1ZcvZe2rAXpgSpEFQLaycYIMFOZHiz5iHW2hg80ddyesKnmtrbR1G69nnFi4p529u51qxNmICAgICAgICAgICAgIIKCUBAQEBAQcplM3k7pGd6y4etrd6/Lz5wqMK45ZKkEBAQddiRik6pc2acEQNN2tI9IR7veq+XLp2Q2279gnLP4l4/T7/APxazRZVXSQ9IkQEBAQEBAQEBAQEBAQQUEoCAgICAgx66jjnYWSta9h1tIuP/VMTMTrDxkx1yV4bRrDgsM5N9bqR4t9lJ+z/AIjrWeufxaXPufvxT6T/ALcpW4tVkXnwScrWl4/43WaMlZ72rybFnpzrPp2sAUMt7bnJfgzHX7LL1xQw/g5NdOGfo2VDirWzEZsL2jhkGYB+rSvE5Kx3rGPYM9+VdPPsdpgDJ5HEQ+qcJXaxGBaIcp1u9nWsF80zybfZt01pPFlnX+O527G2sBoA0ADVZYW3iNHpEiAgICAgICAgICAgICAggoJQEBAQEBAQEEIgsoSIJCkEBAQEBAQEBAQEBAQEBAQEEFB//9k="/>
          <p:cNvSpPr>
            <a:spLocks noChangeAspect="1" noChangeArrowheads="1"/>
          </p:cNvSpPr>
          <p:nvPr/>
        </p:nvSpPr>
        <p:spPr bwMode="auto">
          <a:xfrm>
            <a:off x="577850" y="4730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AutoShape 12" descr="data:image/jpeg;base64,/9j/4AAQSkZJRgABAQAAAQABAAD/2wCEAAkGBxEQEhAUEBQRFBIUEhUUEBAUFRUWEBYUFBcWFxcVFhQYHC0gHhomHRQUITIkJSkrLi4uGCIzODMtNygtLy4BCgoKDg0OGhAQGywkICQrLCw3NyssLCwsLCwsLC0sLC4sLCwsLCwtLCwsLCwsLCwsLCwsLCwsLCwsLCwsLCwsLP/AABEIAIQA5wMBEQACEQEDEQH/xAAcAAEAAgMBAQEAAAAAAAAAAAAAAQcEBQYCAwj/xABFEAABAwIABwsHCwMFAAAAAAABAAIDBBEFBgcSITFBEzRRYXFyc4GRsbIiMjOTocLRFSMkUlNUYnSSwcMUgoNCQ6Kj8f/EABoBAQACAwEAAAAAAAAAAAAAAAABBAMFBgL/xAA1EQEAAgEBBQYEBQQCAwAAAAAAAQIDEQQFEjEyIUFRcYGxMzSRwRMUIlJhQnKh0fDxI2Lh/9oADAMBAAIRAxEAPwC8UBBDnAAk6ABck6gEJ7O1h/K9N9vB6xnxU8M+DH+Nj/dH1g+Vqb7eD1jPinDPgfjY/wB0fU+V6b7eD1jPinDPgfjY/wB0fWGYCoZEoCAgICAgICAgi6D41FZFH6R7Gc5wb3lNJl4tkpXqmIYny/SXtu8N+eF64LeDF+aw66cUfVl09bFJ6N7H81zXdxUaTDLXJS3TMS+6h7EBAQEBAQEEFBKAgxML+gn6GTwlTXnDHm+Hbyn2UEAtg4mU2TRGqHBEw/QsXmt5B3LXO5ryh7RIgICAgICAg1uHcNRUcefMeJjB5zjwAL1Ws2nSGDaNopgrxW/7VfhvHSqqCQ1xhj2MjPldb9Z9itVw1hze0byzZeyJ4Y/j/bmjpJJvc6ztWXRQ11LJogAtp27DtTROro8CY51VMQC4zM2skJJtxP1j2rFbFWV/Z95ZsU9s6x/P+1oYBw7DWR58R0jz2Hz2nj4uNVbVms9ro9n2mmevFVswvKwlAQEBAQQUEoCDEwv6CfoZPCVNecMeb4dvKfZQbVsHESlSPLlCYfoWLUOQdy1zua8oe0SICAgICAg+VTO2NrnvNmtaXOPAALlNNXm9orWbTyhSGMWGH1szpHaBqjZ9Vg1D9yr1KxWNHH7VtNs+Sbz6NasisICAgIM/AeFn0czJY9hs9uxzdrSvF6xaNFjZtothvF6rxpKhsrGPYbte0OaeIhUNNHY0vF6xaOUvsj0ICAgIIKCUBBiYX9BP0MnhKmvOGPN8O3lPsoNq2DiJSpHlyhMP0LFqHIO5a53NeUPaJEBAQEBAQcnlKrjHSFo1yvDOoeUe72rLhjWzW71y8GDTxnRUgVxyyVIhQF0BBKkFAtTJjXGSmfGdcUlhzHi49ucqmeNLaum3Rlm2Gaz3S7JYW1EBAQEEFBKAgxML+gn6GTwlTXnDHm+Hbyn2UG1bBxEpUjy5QmFxY91D46Fzo3OY4Ojs5pIdpI2hUsURN+11e8LWrs0zWdOXJVww7V/eJ/WP+Kt8FfBzf5rN++frJ8u1n3if1j/inBXwPzWb98/WW5xOwvUyVtO180rmlzrtc9xafIdrBKx5axFZ7FzYNoy32isWtMx298+Du8fah8VHI6NzmODmWc0kO0uF9IWDFETZuN5XtTZ5ms6T2cvNVYw7WfeJ/WP+Kt8FfBzf5rN++31k+Xaz7xP6x/xTgr4H5rN++frLbYqYXqX1lM180zml+lpe4tOg6wSvGSkRWexa2LaMts9Ym0z2+Mt7lZfppG8UpP8A1gfusez963vqeiPP7K8CstElSN9iZgIVs+a++5sGdJbWRfQ2+y6xZb8ML2wbLG0ZNJ5RzW5BgyBjc1kUbW2tYNFuvRpVPil1NcOOsaRWNPJVuUagigqgImhgfE17mjQ3OLng2GzzQrWGZmva5vemKmPPHDGmsa/5ly6ztYIPrBVSR33N72X15ri2/LZeZiJe6ZLU6ZmPJ1uTetlfWWfJI4bk82c9xF/J2ErDmrEVbXdWS9s+kzM9k/ZaiqujEBAQQUEoCDEwv6CfoZPCVNecMeb4dvKfZQbVsHESlSPLlCYW7lD3g/nReIKni63U7y+Vn091RhXHKpUjeYkb+pec7wOWLN0Svbt+Zr6+yw8o28ZeczxBVsPW3m9flp8491PhXXKpUjcYnb9pek90rHl6ZXN3/MU83TZWfPpebJ3sWHZ+9sN9c6ev2cAFZaMQd3k0whBB/U7tIxhJjzc42uBn3t7FXzRM6aN1ujLjxxfjmI5O6gw9Svc1rJonOcbNaHC5PAFg4LR3N1XacNp0i0K9yq76j/Lt8cqsYOlod8fHr/b95carDUiAg6vJjv3/ABP72rBn6W13R8f0n7LbVR0wgICCCglAQYmF/QT9DJ4SprzhjzfDt5T7KDatg4iUqR5coTC3coe8H86LxBU8XW6neXys+nuqMK45VKkbzEjf1LzneByxZuiV7dvzNfX2WHlG3jLzmeIKth6283r8tPnHup8K65VKkbjE7ftL0nulY8vTK5u/5inm6bKz59LzZO9iw7P3thvrqp6uACstGlSIUDbYpD6bSdK1eMnTK3sPx6ebe5Vd9R/l2+ORY8HSt74+PX+37y41WGpEBB1eTHfv+J/e1YM/S2u6Pj+k/ZbaqOmEBAQQUEoCDEwv6CfoZPCVNecMeb4dvKfZQbVsHESlSPLlCYW7lD3g/nReIKni63U7y+Vn091RhXHKpUjeYkb+pec7wOWLN0Svbt+Zr6+yw8o28ZeczxBVsPW3m9flp8491PhXXKpUjcYnb9pek90rHl6ZXN3/ADFPN02Vnz6Xmyd7Fh2fvbDfXVT1cAFZaNKkEG1xS37SdK1Y8nTK3sPx6ebe5Vh9KiOz+nb7HyfELHg6VzfMf+evl95carDUCDsMQ8XaetbOZs4ljmZua4jQQfgq+a81mNG23bsmLPW037ncYGxTpqSTdIQ/OzS3S4kWNr6OpYLZLWjSW5wbDiw24qc2+XhcEBAQQUEoCDEwv6CfoZPCVNecMeb4dvKfZQbVsHESlSPLlCYW7lD3g/nReIKni63U7y+Vn091RhXHKpUjcYnStZW0xcbDPtc6rua5o9pCx5Y1rK5u+0V2isysTKTKBRPBIBc9gaOEg37gVWw9Te71tEbPMT4x7qiCuOWSpG4xO37S9J7pWPL0yubv+Yp5unyst8qkP4ZR2FnxCw7P3tjvqO2k+f2V+FZaJKkZVFg2afO3GN8mbbOzRe172v2HsXmbRHNlx4MmTojVu8WMB1TKumc+GVrWyNLnFpsBwlY8l6zWe1d2TZc1c1Zms823ysw2kpn8LHt/SQfeXjBPZKzvmv66W/if+f5cGrLSCDpMRMOtpJzumiKQBrnfVIOhxHBrWHLSbR2Nju3aq4Mn6uUrYp8IwyW3OSN19Wa5pPZdVNJh01cuO3TaPqylDIICAggoJQEGPhCPOilaNbo3gdbSFMc3jLGtJj+JUA1bBw8pUiHKJIW7j0N0wc8t1Wjf1XBVLF2XdVvD9WyTMfwqIK65VKkQQoH0klc62c5zrCzbkmw4BfUmkPU2mecvCl5EG4xO37S9J7pWPL0yubv+Yp5uqyta6Pkm/iWHZ+9st9/0ev2V4FZaEKCxsk2qr5Yu6RVto7m/3L039PusFV28cllJweZaQubrhcH/ANup3ffqWXDOlmt3ri48Gvh2qmV1ywgKBscWB9MpfzEfiC836ZWNl+PT+6PdeqoOzEBAQQUEoCCCgo7GfBZpamWO3k5xdHwZjtI7NXUr1LcVdXHbXg/BzTXu7vJq1kVUKBbeLcza/BxiJ8oRmF/CCB5Lrclj1KneOC+rqdkvG07LwTz00VTUU7onuY8WcwlrhwEK5E6xq5i9Jpaazzh81LyICAgINxidv2l6T3SseXplc3f8xTzdVla10fJN/EsOz97Zb7/o9fsrwKy0IUFp5LqB0dPJI7Rurxmj8LBYHrJd2KpntrbR0u6MU1xTee+fZ2iwts8yRhwLXAEEEOB1EHQQURMRMaSpfG3F91FLYXMTyTE/i+qeMK7jvxQ5LbtknZ7/APrPJo1lUhBssV990v5iPxBeL9MrGyfHp5x7r0VB2YgICCCglAQEHP434tNroxazZWX3N/e13EfYveO/DKltuxxtFfCY5Kkwng6WmfmTMLHbL6jxtOohXK2ieTlsuC+K3DeNGHdemJ0eI9RVRz3po3SNNmyt1MI43agRsWLLFZjtbDd1s1cmuONfF2uOeKArPnYbNnA8oHzXjYCdjhwrBjycPZPJt9v2D8f9dOy3uq+uopYHZszHMdwOFr8h2jkVuLRPJzmTFfHOl40Y91LHo2UmBJ2QmaRhZGCAC/yXOJ1ZrTpXnjiZ0hYnZslcf4lo0j+WuXpXFI3WJbb11LzyexrisWXolc3fGu0VdPlaOmj5Jv4li2fvbLfX9Hr9nA08LpCGxtc92xrQXO7ArOsQ0daWtOlY1dji7iDLKQ6q+bj17n/uO4vwj2rBfNEcm22XdV7TxZeyPDvn/SzoIWsa1rQA1oAaBqAGoBVXRVrFY0h9ESIMXCFBHURujlaHMdrB7wdh41MTMTrDHkxVyV4bxrCtMPYgTQkup/no9ebqlHFb/V1dis0zRPNz+07qyU7cfbH+XISsLCWuBa4a2uBBHKCs8S1M1mJ0mGwxYP0ul/MR+ILxfpln2X49P7o916Ki7MQEBBBQSgICAg+c0DXiz2tc3a1wBb2FEWrFuyYYIxfpAb7hDfmN7l647eLDGzYYnXhj6Plh7CjKGESZl2BzWljbNsHHWBq6tCVrxTo87Tmrs+Pi07H0wRh6mqgNxkaTtYdDx/adKWpNeacO04s0folsJGBws4AjgOkdi8s81ieb4spoo7uDI2WFy4Na2w2klNZl5ilK9sREKsx9xjFXI2OI3hjJs767zoLuQahynhVvFj4Y1lzW8tsjNbhp0x/mXKLM1iVI6vJrSZ9YHbI2Od1nyR3lYM9v0tpunHxZ+Lwhas1LG+2exjras5oNr8F+QKpEz3OltStuqNXuOINFmgAcAFgiYrEcnoBEpQEBAQEHwqKSOQWkYx4/E0O70iZh5tStuqNWJFgGlY4ObBEHAhzXBoBBGkEL1x28WKNmwxOsVjVsl5ZxAQEEFBKAgICAgIOUymbyd0jO9ZcPW1u9fl584VGFc0cvro29LjPWxCzJ5LfiId7XAleJxVnuWqbdtFY0i8+/ux8I4ZqajRNK94+qTZv6RoUxSscoY8u1ZcvZe2rAXpgSpEFQLaycYIMFOZHiz5iHW2hg80ddyesKnmtrbR1G69nnFi4p529u51qxNmICAgICAgICAgICAgIIKCUBAQEBAQcplM3k7pGd6y4etrd6/Lz5wqMK45ZKkEBAQddiRik6pc2acEQNN2tI9IR7veq+XLp2Q2279gnLP4l4/T7/APxazRZVXSQ9IkQEBAQEBAQEBAQEBAQQUEoCAgICAgx66jjnYWSta9h1tIuP/VMTMTrDxkx1yV4bRrDgsM5N9bqR4t9lJ+z/AIjrWeufxaXPufvxT6T/ALcpW4tVkXnwScrWl4/43WaMlZ72rybFnpzrPp2sAUMt7bnJfgzHX7LL1xQw/g5NdOGfo2VDirWzEZsL2jhkGYB+rSvE5Kx3rGPYM9+VdPPsdpgDJ5HEQ+qcJXaxGBaIcp1u9nWsF80zybfZt01pPFlnX+O527G2sBoA0ADVZYW3iNHpEiAgICAgICAgICAgICAggoJQEBAQEBAQEEIgsoSIJCkEBAQEBAQEBAQEBAQEBAQEEFB//9k="/>
          <p:cNvSpPr>
            <a:spLocks noChangeAspect="1" noChangeArrowheads="1"/>
          </p:cNvSpPr>
          <p:nvPr/>
        </p:nvSpPr>
        <p:spPr bwMode="auto">
          <a:xfrm>
            <a:off x="730250" y="6254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AutoShape 16" descr="data:image/jpeg;base64,/9j/4AAQSkZJRgABAQAAAQABAAD/2wCEAAkGBxMSEhUSExQWFRUXGBwbGRgXGSAYGhggGxweHRkeIB8gHCsgIRolHR0UITEhJSkrLy4uHR8zODM1NygtLiwBCgoKDg0OGxAQGiwkICYsLC0sLCwsLCwsLCwsLCwsLCwsLSwsLCwsLCwsLCwsLCwsLCwsLCwsLCwsLCwsLCwsLP/AABEIAEwBQAMBEQACEQEDEQH/xAAbAAEAAwEBAQEAAAAAAAAAAAAABQYHBAIDAf/EAEAQAAEDAgMFBAYHBwQDAAAAAAEAAgMEEQUGEgchMVFhEyJBcRQygZGxwTRCUnOhstEjJDVicoLhF0OS8BUzU//EABoBAQADAQEBAAAAAAAAAAAAAAABAgMEBQb/xAAyEQACAgECBQIDBwQDAAAAAAAAAQIDEQQhEhMxQVEFMiJhgRUzQnGhseEUNJHBI9Hw/9oADAMBAAIRAxEAPwDcUAQBAEBQp8110zJXUtM0sa5zA6+p4t46VjxyfRHlS1d84ydcdunzOPB8drHXMM7ah49eCVgjkHPTbioUpdnkzp1Fz3jLifhrDLhl7McVWCG3ZK3143bnN/UdVpGakejRqY27LZ90TKudAQBAEAQBAEAQBAEAQBAEAQBAEAQBAEAQBAEAQBAEAQBAEAQBAEAQBAEAQHl7w0EkgAcSdwCENpbsg6rOFFGbGdpP8t3fBV44+TmnraI9ZFPZmWnpax00D+0gnN5WWILHfaF+N7n8VlxJSyuh5v8AV1U3ccHmMuq8fMteM4BBXMbNE4MkteOaPj0vbiFpKKluehbp6748UXv2aK3JTyTydlL+74jELxSt3NnA+PXzWfV4ezORxlOXDL4bF0fktOVcf9Ja6OQaKiI2kZ8x0K0hLPXqdum1HMWJbSXVE8rnUEAQBAEAQBAEAQBAEAQBAEAQBAEAQBAEAQBAEAQBAEAQBAEAQBAEAQEDmrM8VEy7u9I4dxgNr9Tyb1VJzUTl1WrjRHfd9kUZmEYjih7SV3Zx/V1XDf7WePmVlwymeVyNTq/im8Ik49lrbd6pdfowAfEq3K+ZsvSI43l+hHYls1nYLxSNl/lI0O+JB/BQ62jC30maWYPJEYFj9Rh0hYWnTfvxP3e0cj1VVJxZz0am3Sy4WtvBorailxWEaH6ZGd5p4SRO8CP+2K12mj21OrVw+F7/AKoh8aMsWiv02npzoqGt4SMP1h08R/hVllfF46nPdxRxd+KO0vmi8UVYyZgfG4OaRe4N1qnk9KE4zWYs+6kuEAQBAEAQBAEAQBAEAQBAEAQBAEAQBAEAQBAEAQBAEAQBAEAQBAVnNGKziaKkpSGyyAuc87wxo8bc+Kzm3nCOLU2z41VX1ffwcuGZItUekVU3pLgBp1NtvHPebgeARV75byZ16D/k47ZcTLbNK1gLnENaOJJsAtD0G0lllenzzQtNu2B8gSFTmR8nI9fQn7iVwvGYKgXhka/mAd49nFWUk+hvXfXZ7Hk+eN4DBVt0zMuRwcNzm+RUSin1K3aeu5YmiIwDIsFLL22p8jh6uqwDfdxKrGtJ5OfT+n10y4s5ZZ3xggggEEWN/EclodzSfUoWL4RQQVLIYp30lRJvboJ079wuOG83sLrPlrtscE9HWpfA3F/IlMHxmeGcUdbYucP2Uw3CS3EEfaSMmnwyLVXzhZyrfo/JZMRrGwxPldfSxpcbcdy0O1vCyZFNtRrHElrImNPBpBcQOp5qDm58jx/qdXcov+J/VCOdInck54qqqrZBKI9Ba4nS0g7rW8VJeu1ylhmlodAQBAEAQFK2j5onoTT9jo/adpq1C/q6LW3/AMxQxtm44wSmSMyen05kLdD2O0PANxcAG46EEIXrnxLJYULkdmGsdDTSystqYwkX4XUSeFkxvm4VykuyMz/1GrOUX/H/ACseZI8L7Wu+R6ZtIqxxbEfYR805kiV6tb3SLvlLN0dbduns5Wi5be4I5g8lpGfEerpNbHULHRlkVztCAICLzLjApIHTFuojcBwuTw9irJ4WTDU3qmtzZW8jZsnrJ3slDA0M1DSOvO6pCbbwzi0OtnfNqXQvC1PUCAoedM7yU03YQtbdoBc52/jwACynNp4R5Ot9QlTPggi15erXTU0Ur7antBNuC0i8rJ6Gnm51qT7kipNiOzHXup6WaZoBcxhcAeFx8kKyeE2Z1s/zlVz1jYZX9qx7XeAGiwvqFvDw9oQwrsk5YZ2Zk2hTRzvjga0NjcWkuFy4g2PkLrGVjzsebqfU5RscILpsaPA67Wk+IB/BbHtReVkqOcA5lbQyRG0rnOZY8CzcXfErOfuTR5+rzG6tx6vb6FxWh6JQIaZ2LzOkkcW0cTi1jBu7UjiT0/7zWOOY/keUovWTcn7F0+Za4Mu0rG6RBHbq0FacK8HctNUlhRRV8yZN7L96obxyM3lo4OA5fp4rOVeN4nDqNFwf8lOzXYs2V8ZFXTsm4Hg4cnDitIy4lk7dNfzq1IllY6AgIvEsvU88sc0sYdJEbtd7bi/Ox3oVcE3lkZtDptVI6UevC4SNPIg7/eFnb7c+Dl10M1cXdbk0GNqaezxdsrN44bnDetEdMXxwT8lGzfkijp6OWWOMh7W3adRNkM51xUcozvLNGyargikF2PeA4cLixUGEFmSRpOMU+H4MWzxxl07gRGzUd/DUTyHDepN5cNe/cqNTtIr3G4exg5Btx7yoM3dIlIdqkwgLXRMM9xpd9QjxJHEEfihbnvBP5DzrLVmo9IEbGRMa7U24te9738gpL12OWclaxzafUPeRTBscd+6XDU9w5kcBfkoM5XN9D8wXafURuHpIbLHfvFo0vaOYHA25KRG5rqd+2WUPFE5pu1wlIPMHsiEJv7HRsdmaynq3uIa1sgJJ4ABguUJo6Mjq3ajUulcKeJhjLrRhwJe7wHDxPJQQ73nYuuLmc4ZMajT2piJcGCwbfw38SOaiftZGqzyJZ8GVZdpWy1MMbxdrngEdFgll4PmtLBTujGXTJoGZMhU7YHyQ3Y9jS7ebg2FyCtJVpLY9rU+nVctuOzRRco1DmVlO5u68jWnyduPxWceqPH0c3G+OPJomcM7ild2MLQ+X6xPqs5eZ6LWU8bI9vWeoKl8Md3+xTW7QK0OvrYemncs+OR5i9UvzklazaZKWs7OJodbv6rkX6dFZ2PsdE/V3hcK/M+2YMWfVYSJpAA4ygd3huKN5hll9Tc7tHxvyVTLGPGifJI1gc5zNIubAb73Konh5PN0mq/p23jJ3jP8AW3vrZ5aRZTxyNvtS8vGUM6Nqz2UjezltcAG7Xc7dei0jPOzPW0evjf8AC9mULaH9Pl8m/BZz9zPH9S/uGfePPU8cMcMIawMaAXHvFx+ACcbSwi69SnGChBdDowzaNUscO1DZW+Nhpd7DwUqxovV6rYn8ayjRzjUL6V1SDri0EkW39QRz8LLXiWMnt/1EHVzF0KFkrHWOrQyKmhhbJe5aLusATa/ms4zbZ52k1ztu4VFJFSzB9KqPvpPzlZvqzx9T99P83+5omRM2zVUxhkawNay403vuIC1hNt4Pc0OtndLhkux15j3YnQk8LPA89ymXuRpqP7mv6lmxIEwyBvHQ63nY2V30O2z2PHhkTkNjRQU+nxYCfM8fxVKvYjHRpKmOCfWh0hAU7IEYbJWtb6gn7vuN/ks6+552hWJWJdMk3mHFPRmNkcCYr6ZCOLARud7/AIq0pY3Oq+3lpSfTuVTBM+6dUcrJJWtNmysaSXDw1N8DZZqzHU8+j1Fe2Sbx3RKnPkP1Yah3lGVbmI6H6hDtF/4OOvlq8Sb2DYHU8DiNb5PWcOQCh8U9sbGc5XalcKjwx7t9S6wxhrQ0cAAB7FqeklhYRX9of8PqP6fmhWz2sx/JX0+m+8HwKg5a/cjo2iV5kr5y7hH3B0DRv/G6C15kzRclZKpo6dkkrGyyyNDnFwuBcX0gcgpOiutJblY2oZWiptFRA3Q17tL2DgCd7SPcd3koMroJbo4dnlC6ePEIWes+BoF+d3KSKlnKK9hVa+jqWvdGC+Mm8cgt0I8+qgzT4WXajxjCKyUuqYOxkfa5cToJ4cRuHghspVye6PO1ymZEyhjjFmNbKGi9937KykXLGMFIjxV7aZ9K3cx8gkeRxdZoaGn+XdfzUGOdsGh7JsuRlprXlr3XLYx/87esT/Md3kPNSb0w/EXPOP0Ko+7KrP2sjV/cS/IxXC60wSsmaASw3APArBPG58rTY65qa7E/jmeqipiMRa2NrvW03JI5eSlzbR3X+pWWx4cYPeRsFe5/pb2kRQgvBP1nAbreXG6QWXknQad55slstyv0cT6qdrSe/M/eTzcd6qtzjjF3W4fVs2SlyjRsj7PsWuFt5cLuPW66FCJ9NHR0xjw8Jlmc8FFJUmNvqOGpt/AHw9ixksPB8/rtOqbMLoyYk/gjfvfmp/AdUv7D6kZkbAmVdQWyX0MbqcB9bfYDyURXEzn9P00brPi6I0vEsn0ksZjETWG3dc0WIPzWrgme7boqZx4cYMdpZnU87XA96KT8psffvWB8zCTptz4ZL7QHXrpT0b+UK0/czp9R3vZdckZTgFOyaVgkkkF+9vDQeAAV4QWMs9XQ6KuNalJZbITaNliKBrZ4W6Gk6XNHC54EfionHG6OT1LSQrSsgseTgynVn0LEITw7MPHS9w73933KsXs0Y6Sb/p7Y/I5dnv0+H+78pSHuRT0379EVmH6VUffSfnKrLuc2p+/l+b/c3TD6SNjWuaxrSWjeAB4LpSPrK4RSTSK9tDgcIoqpgu6mkD7c2nc75KlnTPg5NfFqKsj1i8/QstFVNljbIw3a4Ag+aunk7YTU4qS7nLguG+jtfGCDHrLox4tDt5b5A3t0PRIrBnTVy04rp2/6JFSbEHmzGzTRfs2OfK+4Y1oJ9psOAVJywjl1V/Khsst9DMqrHZYI44Ymvh0u1ue8WfI/xPLT0WOcLB4dmpnXFQgmu+/VstmD7QoJWdnVt0EixNtTHfotFYu56FPqddi4bFj9iLxd1JTFs+Hz2l1gdixxcJATvFvBUlwreLMreTW1OiW/hdzT2G4BIsbcOS6D2l0PSEhAVzaH/D6j+n5oUs9rMfyV9PpvvB8CoOWv3I79peGGGukJHdm77Tz8HD2H4oTasSLTlDaLCyBsNTqY6NoaHgag8Dhw4FSaQuWMMr+0LODa0siiBELDqudxe61gbeAAv71BSyzi2R9tmGIej+mzFrnhkTHFrbXIBde11IpeMsmpM54bXPEdTTloP+5Jps32g3F0L8yEtmih5npKaOdzKWTtIrDfxsTxF/FQYzST2JHMkj3Yfhhf9mcNv9kGMN/CyFp+2J1ZVy76bQVLWgdtHMHxnxP7MXYT9k/HehMIcUWcOSs1voJHXaXxv3PZexaRuuAfrDeCD8kK12cJoVbm6nrqOqZFr1NhLnBzbWF7ceCiftZOpsUqZ48Gc4DRtmqIonX0vdY24i6wSy8HzemrVlqi+56xnDJKOcxP9Zpu1w4OHg4fojWHgm+menswy64btBErWU8sJu+0bnNIt3t17W68FdWdmj1avU1YlCUeuxRnxyUlRp4SQv4/0ncfIix9qzW23g8mSlRb80zTqXaLSmMOfqa+29lr7+h5LZWI96HqlLjl9TOcy40ayd0xGkWs1t72A+ayby8nh6vUO+ziLBJ/BG/e/NW/Ad0v7D6kLlHHvQp+0LdTXDS4DjbmOoUReHk5NFqeRPL6F9xPaNTtjJh1PkI3NIsAepWjsXY9i31SpRzHdmb4NROqahkY3l77uPS93H4rFLLweHRW7rUvJJ7QR+/Sjo38qtP3M39S+/ZYsnZ6iihbBUXaWCzXAXBHhfkQrRnhYZ3aP1GEYKFnYic85tFZpiiBETTck8XHw3eAG/3qJy4jl1+uV2IQ6H0yth5bh9dORuezS3qG31HyuQPYkVs2X0tTWlsm+6I/Z79Ph/u/KVEPcjH0379HLnGhdFWTtd9Z5eDzDzcfEj2KJLdoy1tbrvlnu8/5NDyTm81ZEDo9LmMuXA3BtYcPBawnnY9rQ63nfC1ukW2oha9rmOF2uBBHMHitD0ZRUlhmfYViTsJnNJUEup3G8Un2R+nPl7VinwPD6HkVWvST5VntfRmhRStcA5pDmneCDcFbHrpprKPaEhAUjPWboo2OgjDJZDuN7Oazz5u6LKc+yPL12thCPAt3+xmWHUL55GxRi7nGw6cyegWXyR4FVUrZqMTbMDy3BTMYGsaXtG+S3eJ8SuiMUj6ujTV1RSS38kwrHQEAQHwraVssbo3i7XggjoUIazsUfCNmbaeojnbUuIjdqDCwXPTVq/GyGMacPOS1Zjy/DWxdnMOG9rhucw8x+iGsoqSwzO5tk04J0VMZb4FzCD+BIQw5D8knTbKYxC5r5yZiQRIG7m28A2+8HxJKFlQsdSZydkkUDpXGbthK0NILNNrX/mN73QtCvh7kBjOyoOeXU0wY0/7b2khvk4G9uhCFJUeGeMK2UWeDUzhzAfUjaRq6FxO4eQQKjyyyZvyW2uEDWy9g2EOAAZqBDtNvrC1tP4oXnXxYOjJeVf8Ax7JGdr2vaODr6dFrC1vWN0JrhwHzzHkalrHF7gY5DxfHuJ8xax+KCVUZEZg2zoU7ahoqC7touz3x207739bf5blDWVgylp8wlHPVYGD7O+wmjm9I1aHX09na/t1lUVeHnJw0el8qxT484+X8lnx3AYatmmVtyPVcNzm+RVpRT6noX6eFyxNFTp9mgZK2QVJs1wcAYxfcb2vq+Spy/medH0lRmpKfT5fyTmacoRVtn37OUbtYF7jk4X3hWlBM69VooX79H5KiNmE1988duek393+VTlvyed9jyz7kStZszic1gjmcwtFnEt1a+ttQsp5R0WekwaSjLH0zn9USDsmXoRR9twfq16Ot7adXzVuD4cGz0GdPyeLv1x/rP+yNp9mUYY8OmLnOA0ODNOgi9/rG4O7d0VeV8znh6RFRalLPjbGP1I0bMJr/APvjtz0m/u/yo5b8mP2PLPuRccr5VhogS275CO893HyA8Arxgonp6XRwoW278kTmHIPpU75/SNGq3d7PVawtx1hQ68vOTm1PpvOs4+LH0/k4MR2Zg6TDMAQAHBzdxPMWO6/LeodXhmVvpKeOBnnDNmNnAzzBzR9VgIv/AHE7vYEVXlkVekJPM5fRF1r8Ja+mdTMtG0s0CwvpHldaNbYPUspUqnWtljBW8vZB9FnZP6Rr037vZ6b3FuOsqirw8nDpvTeTZx8Wfp/JYMey/BWNDZW7x6rhuc2/I/JWlFPqdt+mruWJoicr5MFFM6UTF4LdOkttbfzv8lWMMPJzaXQKibkpZ+ha1oegcOMYTFVRmOVtx4HxaeYPgVDSfUyuphbHhmjO58AxHDiTSvdJFxs0X97N+/q3iseGUeh48tPqdM81PK/92Ob/AFGrG91zY9XVpBHsuo5jM/tW5bNIisUzhV1A0ul0tP1Yxpv7t/4qHNvuc9uvvsWM4XyP3BMo1VSRpjMbPtvBaPYOJ9iKLfQijQXWvpheWanljLMVEzu96QjvPPE9ByHRbxion0Gm0kKI4XXyTisdQQBAEAQBAEAQBAEAQBAEAQBAEAQBAEAQBAEAQBAEAQBAEAQBAEAQBAEAQBAfKemY/wBdjXf1AH4oVlCMuqPMNFGw3bGxp5hoHwCjBCriuiR91JcIAgCAIAgCAIAgCAIAgCAIAgCAIAgCAIAgCAIAgCAIAgCAIAgCAIAgCAID/9k="/>
          <p:cNvSpPr>
            <a:spLocks noChangeAspect="1" noChangeArrowheads="1"/>
          </p:cNvSpPr>
          <p:nvPr/>
        </p:nvSpPr>
        <p:spPr bwMode="auto">
          <a:xfrm>
            <a:off x="882650" y="7778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4668090" y="2401178"/>
            <a:ext cx="4053057" cy="4152483"/>
            <a:chOff x="762000" y="1081368"/>
            <a:chExt cx="5027173" cy="5533761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3908"/>
            <a:stretch/>
          </p:blipFill>
          <p:spPr>
            <a:xfrm>
              <a:off x="762000" y="1250212"/>
              <a:ext cx="2995448" cy="961043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16358" y="2951957"/>
              <a:ext cx="2086731" cy="2781458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35770" y="1081368"/>
              <a:ext cx="1953403" cy="2740744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84888" y="5910279"/>
              <a:ext cx="2857500" cy="704850"/>
            </a:xfrm>
            <a:prstGeom prst="rect">
              <a:avLst/>
            </a:prstGeom>
          </p:spPr>
        </p:pic>
      </p:grpSp>
      <p:sp>
        <p:nvSpPr>
          <p:cNvPr id="19" name="Content Placeholder 2"/>
          <p:cNvSpPr txBox="1">
            <a:spLocks/>
          </p:cNvSpPr>
          <p:nvPr/>
        </p:nvSpPr>
        <p:spPr>
          <a:xfrm>
            <a:off x="351168" y="1391507"/>
            <a:ext cx="3701034" cy="4041648"/>
          </a:xfrm>
          <a:prstGeom prst="rect">
            <a:avLst/>
          </a:prstGeom>
        </p:spPr>
        <p:txBody>
          <a:bodyPr/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289800" y="2401178"/>
            <a:ext cx="3629025" cy="1590675"/>
            <a:chOff x="273050" y="2834142"/>
            <a:chExt cx="3629025" cy="1590675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73050" y="2834142"/>
              <a:ext cx="3629025" cy="1590675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/>
          </p:nvSpPr>
          <p:spPr>
            <a:xfrm>
              <a:off x="273050" y="2857046"/>
              <a:ext cx="678295" cy="5552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 err="1">
                <a:solidFill>
                  <a:schemeClr val="bg1"/>
                </a:solidFill>
              </a:endParaRPr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5450" y="3996119"/>
            <a:ext cx="3681967" cy="2371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188874"/>
      </p:ext>
    </p:extLst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Significant Natural Catastrophes, 2012"/>
  <p:tag name="ARTICULATE_SLIDE_GUID" val="22a4f984-038d-4267-a427-6d11375750eb"/>
  <p:tag name="ARTICULATE_SLIDE_NAV" val="10"/>
  <p:tag name="ARTICULATE_SLIDE_PAUSE" val="0"/>
  <p:tag name="ARTICULATE_NAV_LEVEL" val="2"/>
  <p:tag name="ARTICULATE_SLIDE_PRESENTER" val="Carl Hedde, CPCU"/>
  <p:tag name="ARTICULATE_SLIDE_PRESENTER_GUID" val="5AFE23B0F3CC"/>
  <p:tag name="ARTICULATE_PLAYLIST_ID" val="-1"/>
  <p:tag name="ARTICULATE_LOCK_SLIDE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Custom 119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20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292608" indent="-292608">
          <a:lnSpc>
            <a:spcPct val="90000"/>
          </a:lnSpc>
          <a:spcBef>
            <a:spcPts val="1200"/>
          </a:spcBef>
          <a:buClr>
            <a:srgbClr val="337DBE"/>
          </a:buClr>
          <a:buSzPct val="77000"/>
          <a:buFont typeface="Wingdings 3" panose="05040102010807070707" pitchFamily="18" charset="2"/>
          <a:buChar char=""/>
          <a:defRPr sz="2000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Sub-section">
  <a:themeElements>
    <a:clrScheme name="Hyperlink 2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lank">
  <a:themeElements>
    <a:clrScheme name="Hyperlink 2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121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Custom 120">
      <a:dk1>
        <a:sysClr val="windowText" lastClr="000000"/>
      </a:dk1>
      <a:lt1>
        <a:sysClr val="window" lastClr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67</TotalTime>
  <Words>1126</Words>
  <Application>Microsoft Office PowerPoint</Application>
  <PresentationFormat>On-screen Show (4:3)</PresentationFormat>
  <Paragraphs>191</Paragraphs>
  <Slides>18</Slides>
  <Notes>11</Notes>
  <HiddenSlides>3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0" baseType="lpstr">
      <vt:lpstr>ＭＳ Ｐゴシック</vt:lpstr>
      <vt:lpstr>Arial</vt:lpstr>
      <vt:lpstr>Arial </vt:lpstr>
      <vt:lpstr>Arial Narrow</vt:lpstr>
      <vt:lpstr>Calibri</vt:lpstr>
      <vt:lpstr>Mangal</vt:lpstr>
      <vt:lpstr>Wingdings</vt:lpstr>
      <vt:lpstr>Wingdings 3</vt:lpstr>
      <vt:lpstr>Office Theme</vt:lpstr>
      <vt:lpstr>Sub-section</vt:lpstr>
      <vt:lpstr>Blank</vt:lpstr>
      <vt:lpstr>think-cell Slide</vt:lpstr>
      <vt:lpstr>Disruption and Insurance</vt:lpstr>
      <vt:lpstr>Greatest Threats, Opportunities</vt:lpstr>
      <vt:lpstr>PowerPoint Presentation</vt:lpstr>
      <vt:lpstr>What Is A Value Chain?</vt:lpstr>
      <vt:lpstr>Insurance Disruption Technology / Digitalization </vt:lpstr>
      <vt:lpstr>The (Re)Insurance Value Chain</vt:lpstr>
      <vt:lpstr>Alternative Capital Potentially Disrupting the Bank Account</vt:lpstr>
      <vt:lpstr>PowerPoint Presentation</vt:lpstr>
      <vt:lpstr>Loss Control Disruptor</vt:lpstr>
      <vt:lpstr>Peer-to-Peer (P2P) Insurance</vt:lpstr>
      <vt:lpstr>Claims Disruptor</vt:lpstr>
      <vt:lpstr>InsurTech Startups Have Broad Range…BUT…  </vt:lpstr>
      <vt:lpstr>…With Broad Incumbent Support </vt:lpstr>
      <vt:lpstr>InsurTech Disruption: Threat or Opportunity? </vt:lpstr>
      <vt:lpstr>Successful Digital Transformation  Holistic Approach   </vt:lpstr>
      <vt:lpstr>Summary</vt:lpstr>
      <vt:lpstr>Thank you for your time and your attention!</vt:lpstr>
      <vt:lpstr>History</vt:lpstr>
    </vt:vector>
  </TitlesOfParts>
  <Company>eSl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14228 - III PPT Template 4:3</dc:title>
  <dc:subject>v2007 and v2010</dc:subject>
  <dc:creator>Call @ 866-2-eSlide</dc:creator>
  <dc:description>eSlide, LLC - P14228 - III PPT Template 4:3</dc:description>
  <cp:lastModifiedBy>Lewis, Charlene</cp:lastModifiedBy>
  <cp:revision>196</cp:revision>
  <cp:lastPrinted>2016-06-07T18:47:34Z</cp:lastPrinted>
  <dcterms:created xsi:type="dcterms:W3CDTF">2011-11-02T14:24:24Z</dcterms:created>
  <dcterms:modified xsi:type="dcterms:W3CDTF">2017-10-18T16:08:13Z</dcterms:modified>
</cp:coreProperties>
</file>